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4647261611571</c:v>
                </c:pt>
                <c:pt idx="2">
                  <c:v>-0.0068382140629814625</c:v>
                </c:pt>
                <c:pt idx="3">
                  <c:v>-0.009497627656095076</c:v>
                </c:pt>
                <c:pt idx="4">
                  <c:v>-0.015291102676906143</c:v>
                </c:pt>
                <c:pt idx="5">
                  <c:v>-0.015291102676906143</c:v>
                </c:pt>
                <c:pt idx="6">
                  <c:v>-0.015291102676906143</c:v>
                </c:pt>
                <c:pt idx="7">
                  <c:v>-0.011682004167590021</c:v>
                </c:pt>
                <c:pt idx="8">
                  <c:v>-0.017570533314369086</c:v>
                </c:pt>
                <c:pt idx="9">
                  <c:v>-0.011682004167590021</c:v>
                </c:pt>
                <c:pt idx="10">
                  <c:v>-0.014246363634735748</c:v>
                </c:pt>
                <c:pt idx="11">
                  <c:v>-0.0240288422711068</c:v>
                </c:pt>
                <c:pt idx="12">
                  <c:v>-0.0240288422711068</c:v>
                </c:pt>
                <c:pt idx="13">
                  <c:v>-0.0240288422711068</c:v>
                </c:pt>
                <c:pt idx="14">
                  <c:v>-0.041219470479232134</c:v>
                </c:pt>
                <c:pt idx="15">
                  <c:v>-0.038940117691176224</c:v>
                </c:pt>
                <c:pt idx="16">
                  <c:v>-0.03010732397100757</c:v>
                </c:pt>
                <c:pt idx="17">
                  <c:v>-0.019470058845587945</c:v>
                </c:pt>
                <c:pt idx="18">
                  <c:v>-0.022224370865855603</c:v>
                </c:pt>
                <c:pt idx="19">
                  <c:v>-0.022224370865855603</c:v>
                </c:pt>
                <c:pt idx="20">
                  <c:v>-0.022224370865855603</c:v>
                </c:pt>
                <c:pt idx="21">
                  <c:v>-0.02326910990802611</c:v>
                </c:pt>
                <c:pt idx="22">
                  <c:v>-0.042549138351085425</c:v>
                </c:pt>
                <c:pt idx="23">
                  <c:v>-0.04416373505262161</c:v>
                </c:pt>
                <c:pt idx="24">
                  <c:v>-0.051001949115603185</c:v>
                </c:pt>
                <c:pt idx="25">
                  <c:v>-0.04302409758329717</c:v>
                </c:pt>
                <c:pt idx="26">
                  <c:v>-0.04302409758329717</c:v>
                </c:pt>
                <c:pt idx="27">
                  <c:v>-0.04302409758329717</c:v>
                </c:pt>
                <c:pt idx="28">
                  <c:v>-0.054800922328634205</c:v>
                </c:pt>
                <c:pt idx="29">
                  <c:v>-0.046633196092613294</c:v>
                </c:pt>
                <c:pt idx="30">
                  <c:v>-0.04587323018131173</c:v>
                </c:pt>
                <c:pt idx="31">
                  <c:v>-0.03542599545842107</c:v>
                </c:pt>
                <c:pt idx="32">
                  <c:v>-0.03647073450059157</c:v>
                </c:pt>
                <c:pt idx="33">
                  <c:v>-0.03647073450059157</c:v>
                </c:pt>
                <c:pt idx="34">
                  <c:v>-0.03647073450059157</c:v>
                </c:pt>
                <c:pt idx="35">
                  <c:v>-0.042169233244841675</c:v>
                </c:pt>
                <c:pt idx="36">
                  <c:v>-0.04340400268954103</c:v>
                </c:pt>
                <c:pt idx="37">
                  <c:v>-0.036185805670908566</c:v>
                </c:pt>
                <c:pt idx="38">
                  <c:v>-0.02374383559201676</c:v>
                </c:pt>
                <c:pt idx="39">
                  <c:v>-0.015765984059710747</c:v>
                </c:pt>
                <c:pt idx="40">
                  <c:v>-0.015765984059710747</c:v>
                </c:pt>
                <c:pt idx="41">
                  <c:v>-0.015765984059710747</c:v>
                </c:pt>
                <c:pt idx="42">
                  <c:v>-0.015196048550937924</c:v>
                </c:pt>
                <c:pt idx="43">
                  <c:v>-0.0068382140629811294</c:v>
                </c:pt>
                <c:pt idx="44">
                  <c:v>-0.0038940273389985736</c:v>
                </c:pt>
                <c:pt idx="45">
                  <c:v>-0.003704074785876643</c:v>
                </c:pt>
                <c:pt idx="46">
                  <c:v>-0.003608942810501725</c:v>
                </c:pt>
                <c:pt idx="47">
                  <c:v>-0.003608942810501725</c:v>
                </c:pt>
                <c:pt idx="48">
                  <c:v>-0.003608942810501725</c:v>
                </c:pt>
                <c:pt idx="49">
                  <c:v>-0.00019003040252851822</c:v>
                </c:pt>
                <c:pt idx="50">
                  <c:v>-0.0007598880618943094</c:v>
                </c:pt>
                <c:pt idx="51">
                  <c:v>-0.005698576593656801</c:v>
                </c:pt>
                <c:pt idx="52">
                  <c:v>0.002944186723983</c:v>
                </c:pt>
                <c:pt idx="53">
                  <c:v>0.00018995255312237447</c:v>
                </c:pt>
                <c:pt idx="54">
                  <c:v>0.00018995255312237447</c:v>
                </c:pt>
                <c:pt idx="55">
                  <c:v>0.00018995255312237447</c:v>
                </c:pt>
                <c:pt idx="56">
                  <c:v>0.00522361736144572</c:v>
                </c:pt>
                <c:pt idx="57">
                  <c:v>0.0057934750208112895</c:v>
                </c:pt>
                <c:pt idx="58">
                  <c:v>0.012251939676363177</c:v>
                </c:pt>
                <c:pt idx="59">
                  <c:v>0.01443623833845109</c:v>
                </c:pt>
                <c:pt idx="60">
                  <c:v>0.01643081799563806</c:v>
                </c:pt>
                <c:pt idx="61">
                  <c:v>0.01643081799563806</c:v>
                </c:pt>
                <c:pt idx="62">
                  <c:v>0.01643081799563806</c:v>
                </c:pt>
                <c:pt idx="63">
                  <c:v>0.01833034352685714</c:v>
                </c:pt>
                <c:pt idx="64">
                  <c:v>0.015766061909118445</c:v>
                </c:pt>
                <c:pt idx="65">
                  <c:v>0.006553440932113075</c:v>
                </c:pt>
                <c:pt idx="66">
                  <c:v>0.009877454912932349</c:v>
                </c:pt>
                <c:pt idx="67">
                  <c:v>0.01690562152903574</c:v>
                </c:pt>
                <c:pt idx="68">
                  <c:v>0.01690562152903574</c:v>
                </c:pt>
                <c:pt idx="69">
                  <c:v>0.01690562152903574</c:v>
                </c:pt>
                <c:pt idx="70">
                  <c:v>0.01633576386966995</c:v>
                </c:pt>
                <c:pt idx="71">
                  <c:v>0.018425319803418105</c:v>
                </c:pt>
                <c:pt idx="72">
                  <c:v>0.015576109355996515</c:v>
                </c:pt>
                <c:pt idx="73">
                  <c:v>0.01586111603508633</c:v>
                </c:pt>
                <c:pt idx="74">
                  <c:v>0.012251939676363177</c:v>
                </c:pt>
                <c:pt idx="75">
                  <c:v>0.012251939676363177</c:v>
                </c:pt>
                <c:pt idx="76">
                  <c:v>0.012251939676363177</c:v>
                </c:pt>
                <c:pt idx="77">
                  <c:v>0.006173457976462293</c:v>
                </c:pt>
                <c:pt idx="78">
                  <c:v>0.0058886069961863186</c:v>
                </c:pt>
                <c:pt idx="79">
                  <c:v>0.006268434253023036</c:v>
                </c:pt>
                <c:pt idx="80">
                  <c:v>0.006268434253023036</c:v>
                </c:pt>
                <c:pt idx="81">
                  <c:v>-0.01823536725029573</c:v>
                </c:pt>
                <c:pt idx="82">
                  <c:v>-0.01823536725029573</c:v>
                </c:pt>
                <c:pt idx="83">
                  <c:v>-0.01823536725029573</c:v>
                </c:pt>
                <c:pt idx="84">
                  <c:v>-0.009402495680720158</c:v>
                </c:pt>
                <c:pt idx="85">
                  <c:v>-0.02288920480178247</c:v>
                </c:pt>
                <c:pt idx="86">
                  <c:v>-0.033716422480324026</c:v>
                </c:pt>
                <c:pt idx="87">
                  <c:v>-0.01975490982586392</c:v>
                </c:pt>
                <c:pt idx="88">
                  <c:v>-0.028112822163227746</c:v>
                </c:pt>
                <c:pt idx="89">
                  <c:v>-0.028112822163227746</c:v>
                </c:pt>
                <c:pt idx="90">
                  <c:v>-0.028112822163227746</c:v>
                </c:pt>
                <c:pt idx="91">
                  <c:v>-0.018330343526856585</c:v>
                </c:pt>
                <c:pt idx="92">
                  <c:v>0.002944186723982778</c:v>
                </c:pt>
                <c:pt idx="93">
                  <c:v>0.0057934750208112895</c:v>
                </c:pt>
                <c:pt idx="94">
                  <c:v>-0.0021844543609017553</c:v>
                </c:pt>
                <c:pt idx="95">
                  <c:v>0.0032291934030723723</c:v>
                </c:pt>
                <c:pt idx="96">
                  <c:v>0.0032291934030723723</c:v>
                </c:pt>
                <c:pt idx="97">
                  <c:v>0.0032291934030723723</c:v>
                </c:pt>
                <c:pt idx="98">
                  <c:v>-0.006773131958715206</c:v>
                </c:pt>
                <c:pt idx="99">
                  <c:v>-0.012143417602980988</c:v>
                </c:pt>
                <c:pt idx="100">
                  <c:v>0.00013156549785908744</c:v>
                </c:pt>
                <c:pt idx="101">
                  <c:v>-0.004663413028549779</c:v>
                </c:pt>
                <c:pt idx="102">
                  <c:v>-0.014445113170850732</c:v>
                </c:pt>
                <c:pt idx="103">
                  <c:v>-0.014445113170850732</c:v>
                </c:pt>
                <c:pt idx="104">
                  <c:v>-0.014445113170850732</c:v>
                </c:pt>
                <c:pt idx="105">
                  <c:v>-0.0237471831165188</c:v>
                </c:pt>
                <c:pt idx="106">
                  <c:v>-0.007827991423797864</c:v>
                </c:pt>
                <c:pt idx="107">
                  <c:v>0.0014740785218700925</c:v>
                </c:pt>
                <c:pt idx="108">
                  <c:v>0.007899379330032597</c:v>
                </c:pt>
                <c:pt idx="109">
                  <c:v>0.007899379330032597</c:v>
                </c:pt>
                <c:pt idx="110">
                  <c:v>0.007899379330032597</c:v>
                </c:pt>
                <c:pt idx="111">
                  <c:v>0.007899379330032597</c:v>
                </c:pt>
                <c:pt idx="112">
                  <c:v>0.018927837725713603</c:v>
                </c:pt>
                <c:pt idx="113">
                  <c:v>0.017872900411223913</c:v>
                </c:pt>
                <c:pt idx="114">
                  <c:v>0.01796888873007596</c:v>
                </c:pt>
                <c:pt idx="115">
                  <c:v>0.01673100530909588</c:v>
                </c:pt>
                <c:pt idx="116">
                  <c:v>0.015099515286236986</c:v>
                </c:pt>
                <c:pt idx="117">
                  <c:v>0.015099515286236986</c:v>
                </c:pt>
                <c:pt idx="118">
                  <c:v>0.015099515286236986</c:v>
                </c:pt>
                <c:pt idx="119">
                  <c:v>0.020473382003225682</c:v>
                </c:pt>
                <c:pt idx="120">
                  <c:v>0.019609798531184053</c:v>
                </c:pt>
                <c:pt idx="121">
                  <c:v>0.0030081789365505873</c:v>
                </c:pt>
                <c:pt idx="122">
                  <c:v>0.0008969808676517754</c:v>
                </c:pt>
                <c:pt idx="123">
                  <c:v>0.0007050820793543799</c:v>
                </c:pt>
                <c:pt idx="124">
                  <c:v>0.0007050820793543799</c:v>
                </c:pt>
                <c:pt idx="125">
                  <c:v>0.0007050820793543799</c:v>
                </c:pt>
                <c:pt idx="126">
                  <c:v>-0.0021737889921407128</c:v>
                </c:pt>
                <c:pt idx="127">
                  <c:v>0.00972557071984137</c:v>
                </c:pt>
                <c:pt idx="128">
                  <c:v>0.015867266138240188</c:v>
                </c:pt>
                <c:pt idx="129">
                  <c:v>0.0022405837833610054</c:v>
                </c:pt>
                <c:pt idx="130">
                  <c:v>0.002528315191696384</c:v>
                </c:pt>
                <c:pt idx="131">
                  <c:v>0.002528315191696384</c:v>
                </c:pt>
                <c:pt idx="132">
                  <c:v>0.002528315191696384</c:v>
                </c:pt>
                <c:pt idx="133">
                  <c:v>0.002528315191696384</c:v>
                </c:pt>
                <c:pt idx="134">
                  <c:v>-0.014840977405533473</c:v>
                </c:pt>
                <c:pt idx="135">
                  <c:v>-0.020790696186228086</c:v>
                </c:pt>
                <c:pt idx="136">
                  <c:v>-0.02846781545922672</c:v>
                </c:pt>
                <c:pt idx="137">
                  <c:v>-0.044973446735007916</c:v>
                </c:pt>
                <c:pt idx="138">
                  <c:v>-0.044973446735007916</c:v>
                </c:pt>
                <c:pt idx="139">
                  <c:v>-0.044973446735007916</c:v>
                </c:pt>
                <c:pt idx="140">
                  <c:v>-0.04650887058960762</c:v>
                </c:pt>
                <c:pt idx="141">
                  <c:v>-0.05610521129380064</c:v>
                </c:pt>
                <c:pt idx="142">
                  <c:v>-0.06080731547763796</c:v>
                </c:pt>
                <c:pt idx="143">
                  <c:v>-0.0656055636791415</c:v>
                </c:pt>
                <c:pt idx="144">
                  <c:v>-0.050635278408552864</c:v>
                </c:pt>
                <c:pt idx="145">
                  <c:v>-0.050635278408552864</c:v>
                </c:pt>
                <c:pt idx="146">
                  <c:v>-0.050635278408552864</c:v>
                </c:pt>
                <c:pt idx="147">
                  <c:v>-0.031058721574165227</c:v>
                </c:pt>
                <c:pt idx="148">
                  <c:v>-0.02357357893887102</c:v>
                </c:pt>
                <c:pt idx="149">
                  <c:v>-0.017335895201620044</c:v>
                </c:pt>
                <c:pt idx="150">
                  <c:v>-0.0361447790334114</c:v>
                </c:pt>
                <c:pt idx="151">
                  <c:v>-0.03182655027557579</c:v>
                </c:pt>
                <c:pt idx="152">
                  <c:v>-0.03182655027557579</c:v>
                </c:pt>
                <c:pt idx="153">
                  <c:v>-0.03182655027557579</c:v>
                </c:pt>
                <c:pt idx="154">
                  <c:v>-0.033745693857363146</c:v>
                </c:pt>
                <c:pt idx="155">
                  <c:v>-0.026260706920883004</c:v>
                </c:pt>
                <c:pt idx="156">
                  <c:v>-0.010906546224292768</c:v>
                </c:pt>
                <c:pt idx="157">
                  <c:v>-0.025204991112323105</c:v>
                </c:pt>
                <c:pt idx="158">
                  <c:v>-0.04372590998755799</c:v>
                </c:pt>
                <c:pt idx="159">
                  <c:v>-0.04372590998755799</c:v>
                </c:pt>
                <c:pt idx="160">
                  <c:v>-0.04372590998755799</c:v>
                </c:pt>
                <c:pt idx="161">
                  <c:v>-0.047276621441611266</c:v>
                </c:pt>
                <c:pt idx="162">
                  <c:v>-0.030579013528125643</c:v>
                </c:pt>
                <c:pt idx="163">
                  <c:v>-0.028371827140374672</c:v>
                </c:pt>
                <c:pt idx="164">
                  <c:v>-0.047180633122759</c:v>
                </c:pt>
                <c:pt idx="165">
                  <c:v>-0.05428174463323754</c:v>
                </c:pt>
                <c:pt idx="166">
                  <c:v>-0.05428174463323754</c:v>
                </c:pt>
                <c:pt idx="167">
                  <c:v>-0.05428174463323754</c:v>
                </c:pt>
                <c:pt idx="168">
                  <c:v>-0.05428174463323754</c:v>
                </c:pt>
                <c:pt idx="169">
                  <c:v>-0.06522161040373298</c:v>
                </c:pt>
                <c:pt idx="170">
                  <c:v>-0.07846465088083154</c:v>
                </c:pt>
                <c:pt idx="171">
                  <c:v>-0.07462613016903574</c:v>
                </c:pt>
                <c:pt idx="172">
                  <c:v>-0.05409000154375421</c:v>
                </c:pt>
                <c:pt idx="173">
                  <c:v>-0.05409000154375421</c:v>
                </c:pt>
                <c:pt idx="174">
                  <c:v>-0.05409000154375421</c:v>
                </c:pt>
                <c:pt idx="175">
                  <c:v>-0.06071148285759986</c:v>
                </c:pt>
                <c:pt idx="176">
                  <c:v>-0.07664126206967514</c:v>
                </c:pt>
                <c:pt idx="177">
                  <c:v>-0.06339837729139075</c:v>
                </c:pt>
                <c:pt idx="178">
                  <c:v>-0.07289872967673161</c:v>
                </c:pt>
                <c:pt idx="179">
                  <c:v>-0.0866215560492769</c:v>
                </c:pt>
                <c:pt idx="180">
                  <c:v>-0.0866215560492769</c:v>
                </c:pt>
                <c:pt idx="181">
                  <c:v>-0.0866215560492769</c:v>
                </c:pt>
                <c:pt idx="182">
                  <c:v>-0.11502662488644733</c:v>
                </c:pt>
                <c:pt idx="183">
                  <c:v>-0.11608226284560019</c:v>
                </c:pt>
                <c:pt idx="184">
                  <c:v>-0.08930837263366076</c:v>
                </c:pt>
                <c:pt idx="185">
                  <c:v>-0.09650578386061959</c:v>
                </c:pt>
                <c:pt idx="186">
                  <c:v>-0.10898091778690067</c:v>
                </c:pt>
                <c:pt idx="187">
                  <c:v>-0.10898091778690067</c:v>
                </c:pt>
                <c:pt idx="188">
                  <c:v>-0.10898091778690067</c:v>
                </c:pt>
                <c:pt idx="189">
                  <c:v>-0.11473873777929788</c:v>
                </c:pt>
                <c:pt idx="190">
                  <c:v>-0.10092000093730724</c:v>
                </c:pt>
                <c:pt idx="191">
                  <c:v>-0.07049964450068336</c:v>
                </c:pt>
                <c:pt idx="192">
                  <c:v>-0.060999214265935464</c:v>
                </c:pt>
                <c:pt idx="193">
                  <c:v>-0.050635278408553086</c:v>
                </c:pt>
                <c:pt idx="194">
                  <c:v>-0.050635278408553086</c:v>
                </c:pt>
                <c:pt idx="195">
                  <c:v>-0.050635278408553086</c:v>
                </c:pt>
                <c:pt idx="196">
                  <c:v>-0.05399393537549502</c:v>
                </c:pt>
                <c:pt idx="197">
                  <c:v>-0.042574439408366804</c:v>
                </c:pt>
                <c:pt idx="198">
                  <c:v>-0.05332209499293683</c:v>
                </c:pt>
                <c:pt idx="199">
                  <c:v>-0.042382384921255345</c:v>
                </c:pt>
                <c:pt idx="200">
                  <c:v>-0.040558996110099055</c:v>
                </c:pt>
                <c:pt idx="201">
                  <c:v>-0.040558996110099055</c:v>
                </c:pt>
                <c:pt idx="202">
                  <c:v>-0.040558996110099055</c:v>
                </c:pt>
                <c:pt idx="203">
                  <c:v>-0.0368164637171553</c:v>
                </c:pt>
                <c:pt idx="204">
                  <c:v>-0.02136639255111983</c:v>
                </c:pt>
                <c:pt idx="205">
                  <c:v>-0.026836325436367492</c:v>
                </c:pt>
                <c:pt idx="206">
                  <c:v>-0.04247837324010728</c:v>
                </c:pt>
                <c:pt idx="207">
                  <c:v>-0.036240767352263226</c:v>
                </c:pt>
                <c:pt idx="208">
                  <c:v>-0.036240767352263226</c:v>
                </c:pt>
                <c:pt idx="209">
                  <c:v>-0.036240767352263226</c:v>
                </c:pt>
                <c:pt idx="210">
                  <c:v>-0.02693231375521954</c:v>
                </c:pt>
                <c:pt idx="211">
                  <c:v>-0.04084711676546926</c:v>
                </c:pt>
                <c:pt idx="212">
                  <c:v>-0.05188281515600279</c:v>
                </c:pt>
                <c:pt idx="213">
                  <c:v>-0.04986752755654911</c:v>
                </c:pt>
                <c:pt idx="214">
                  <c:v>-0.05073118887799766</c:v>
                </c:pt>
                <c:pt idx="215">
                  <c:v>-0.05073118887799766</c:v>
                </c:pt>
                <c:pt idx="216">
                  <c:v>-0.05073118887799766</c:v>
                </c:pt>
                <c:pt idx="217">
                  <c:v>-0.06426203861283863</c:v>
                </c:pt>
                <c:pt idx="218">
                  <c:v>-0.06944408439093686</c:v>
                </c:pt>
                <c:pt idx="219">
                  <c:v>-0.05821625366388494</c:v>
                </c:pt>
                <c:pt idx="220">
                  <c:v>-0.06810063717404147</c:v>
                </c:pt>
                <c:pt idx="221">
                  <c:v>-0.06810063717404147</c:v>
                </c:pt>
                <c:pt idx="222">
                  <c:v>-0.06810063717404147</c:v>
                </c:pt>
                <c:pt idx="223">
                  <c:v>-0.06810063717404147</c:v>
                </c:pt>
                <c:pt idx="224">
                  <c:v>-0.06963598317923425</c:v>
                </c:pt>
                <c:pt idx="225">
                  <c:v>-0.05975175536789168</c:v>
                </c:pt>
                <c:pt idx="226">
                  <c:v>-0.05888809404644324</c:v>
                </c:pt>
                <c:pt idx="227">
                  <c:v>-0.07347450389103016</c:v>
                </c:pt>
                <c:pt idx="228">
                  <c:v>-0.09429859747286817</c:v>
                </c:pt>
                <c:pt idx="229">
                  <c:v>-0.09429859747286817</c:v>
                </c:pt>
                <c:pt idx="230">
                  <c:v>-0.09429859747286817</c:v>
                </c:pt>
                <c:pt idx="231">
                  <c:v>-0.09285916193712074</c:v>
                </c:pt>
                <c:pt idx="232">
                  <c:v>-0.11790557380734923</c:v>
                </c:pt>
                <c:pt idx="233">
                  <c:v>-0.11454691684040719</c:v>
                </c:pt>
                <c:pt idx="234">
                  <c:v>-0.09602599796517242</c:v>
                </c:pt>
                <c:pt idx="235">
                  <c:v>-0.11972872907028453</c:v>
                </c:pt>
                <c:pt idx="236">
                  <c:v>-0.11972872907028453</c:v>
                </c:pt>
                <c:pt idx="237">
                  <c:v>-0.11972872907028453</c:v>
                </c:pt>
                <c:pt idx="238">
                  <c:v>-0.11684985799878944</c:v>
                </c:pt>
                <c:pt idx="239">
                  <c:v>-0.11147606913120789</c:v>
                </c:pt>
                <c:pt idx="240">
                  <c:v>-0.09055606507992475</c:v>
                </c:pt>
                <c:pt idx="241">
                  <c:v>-0.12155219573084786</c:v>
                </c:pt>
                <c:pt idx="242">
                  <c:v>-0.13028487511359232</c:v>
                </c:pt>
                <c:pt idx="243">
                  <c:v>-0.13028487511359232</c:v>
                </c:pt>
                <c:pt idx="244">
                  <c:v>-0.13028487511359232</c:v>
                </c:pt>
                <c:pt idx="245">
                  <c:v>-0.15782620477990716</c:v>
                </c:pt>
                <c:pt idx="246">
                  <c:v>-0.15485142323896695</c:v>
                </c:pt>
                <c:pt idx="247">
                  <c:v>-0.16540733573405364</c:v>
                </c:pt>
                <c:pt idx="248">
                  <c:v>-0.16655896201205866</c:v>
                </c:pt>
                <c:pt idx="249">
                  <c:v>-0.14458324215221552</c:v>
                </c:pt>
                <c:pt idx="250">
                  <c:v>-0.14458324215221552</c:v>
                </c:pt>
                <c:pt idx="251">
                  <c:v>-0.14458324215221552</c:v>
                </c:pt>
                <c:pt idx="252">
                  <c:v>-0.14736628060367252</c:v>
                </c:pt>
                <c:pt idx="253">
                  <c:v>-0.13009282062648087</c:v>
                </c:pt>
                <c:pt idx="254">
                  <c:v>-0.15916972984620947</c:v>
                </c:pt>
                <c:pt idx="255">
                  <c:v>-0.15840205684361308</c:v>
                </c:pt>
                <c:pt idx="256">
                  <c:v>-0.15600297166756483</c:v>
                </c:pt>
                <c:pt idx="257">
                  <c:v>-0.15600297166756483</c:v>
                </c:pt>
                <c:pt idx="258">
                  <c:v>-0.15600297166756483</c:v>
                </c:pt>
                <c:pt idx="259">
                  <c:v>-0.14237613361387158</c:v>
                </c:pt>
                <c:pt idx="260">
                  <c:v>-0.14947755652197825</c:v>
                </c:pt>
                <c:pt idx="261">
                  <c:v>-0.14362351466250767</c:v>
                </c:pt>
                <c:pt idx="262">
                  <c:v>-0.1295169685627745</c:v>
                </c:pt>
                <c:pt idx="263">
                  <c:v>-0.11176387838894997</c:v>
                </c:pt>
                <c:pt idx="264">
                  <c:v>-0.11176387838894997</c:v>
                </c:pt>
                <c:pt idx="265">
                  <c:v>-0.11176387838894997</c:v>
                </c:pt>
                <c:pt idx="266">
                  <c:v>-0.11176387838894997</c:v>
                </c:pt>
                <c:pt idx="267">
                  <c:v>-0.11579422003963613</c:v>
                </c:pt>
                <c:pt idx="268">
                  <c:v>-0.12231986873344369</c:v>
                </c:pt>
                <c:pt idx="269">
                  <c:v>-0.10466253333025033</c:v>
                </c:pt>
                <c:pt idx="270">
                  <c:v>-0.11953690813139373</c:v>
                </c:pt>
                <c:pt idx="271">
                  <c:v>-0.11953690813139373</c:v>
                </c:pt>
                <c:pt idx="272">
                  <c:v>-0.11953690813139373</c:v>
                </c:pt>
                <c:pt idx="273">
                  <c:v>-0.11636999425393513</c:v>
                </c:pt>
                <c:pt idx="274">
                  <c:v>-0.10965268032005127</c:v>
                </c:pt>
                <c:pt idx="275">
                  <c:v>-0.11800148427679402</c:v>
                </c:pt>
                <c:pt idx="276">
                  <c:v>-0.13856392600164724</c:v>
                </c:pt>
                <c:pt idx="277">
                  <c:v>-0.16093768987956913</c:v>
                </c:pt>
                <c:pt idx="278">
                  <c:v>-0.16093768987956913</c:v>
                </c:pt>
                <c:pt idx="279">
                  <c:v>-0.16093768987956913</c:v>
                </c:pt>
                <c:pt idx="280">
                  <c:v>-0.1920285632588321</c:v>
                </c:pt>
                <c:pt idx="281">
                  <c:v>-0.19444991336528727</c:v>
                </c:pt>
                <c:pt idx="282">
                  <c:v>-0.1821490842613176</c:v>
                </c:pt>
                <c:pt idx="283">
                  <c:v>-0.20607244058591634</c:v>
                </c:pt>
                <c:pt idx="284">
                  <c:v>-0.20645997493404777</c:v>
                </c:pt>
                <c:pt idx="285">
                  <c:v>-0.20645997493404777</c:v>
                </c:pt>
                <c:pt idx="286">
                  <c:v>-0.20645997493404777</c:v>
                </c:pt>
                <c:pt idx="287">
                  <c:v>-0.20645997493404777</c:v>
                </c:pt>
                <c:pt idx="288">
                  <c:v>-0.1887353776431916</c:v>
                </c:pt>
                <c:pt idx="289">
                  <c:v>-0.19338446638085027</c:v>
                </c:pt>
                <c:pt idx="290">
                  <c:v>-0.1887353776431916</c:v>
                </c:pt>
                <c:pt idx="291">
                  <c:v>-0.1640370304717369</c:v>
                </c:pt>
                <c:pt idx="292">
                  <c:v>-0.1640370304717369</c:v>
                </c:pt>
                <c:pt idx="293">
                  <c:v>-0.1640370304717369</c:v>
                </c:pt>
                <c:pt idx="294">
                  <c:v>-0.1664584584275991</c:v>
                </c:pt>
                <c:pt idx="295">
                  <c:v>-0.17875920968216175</c:v>
                </c:pt>
                <c:pt idx="296">
                  <c:v>-0.1809867926145512</c:v>
                </c:pt>
                <c:pt idx="297">
                  <c:v>-0.18747616348468876</c:v>
                </c:pt>
                <c:pt idx="298">
                  <c:v>-0.18176170561200022</c:v>
                </c:pt>
                <c:pt idx="299">
                  <c:v>-0.18176170561200022</c:v>
                </c:pt>
                <c:pt idx="300">
                  <c:v>-0.18176170561200022</c:v>
                </c:pt>
                <c:pt idx="301">
                  <c:v>-0.18176170561200022</c:v>
                </c:pt>
                <c:pt idx="302">
                  <c:v>-0.185926493188605</c:v>
                </c:pt>
                <c:pt idx="303">
                  <c:v>-0.18476435724065254</c:v>
                </c:pt>
                <c:pt idx="304">
                  <c:v>-0.17178553765097027</c:v>
                </c:pt>
                <c:pt idx="305">
                  <c:v>-0.1723667613237605</c:v>
                </c:pt>
                <c:pt idx="306">
                  <c:v>-0.1723667613237605</c:v>
                </c:pt>
                <c:pt idx="307">
                  <c:v>-0.1723667613237605</c:v>
                </c:pt>
                <c:pt idx="308">
                  <c:v>-0.184086211056126</c:v>
                </c:pt>
                <c:pt idx="309">
                  <c:v>-0.18912267844310204</c:v>
                </c:pt>
                <c:pt idx="310">
                  <c:v>-0.1924159419081496</c:v>
                </c:pt>
                <c:pt idx="311">
                  <c:v>-0.19793663260677252</c:v>
                </c:pt>
                <c:pt idx="312">
                  <c:v>-0.1842799003807848</c:v>
                </c:pt>
                <c:pt idx="313">
                  <c:v>-0.1842799003807848</c:v>
                </c:pt>
                <c:pt idx="314">
                  <c:v>-0.1842799003807848</c:v>
                </c:pt>
                <c:pt idx="315">
                  <c:v>-0.1865076390119882</c:v>
                </c:pt>
                <c:pt idx="316">
                  <c:v>-0.16587739045362304</c:v>
                </c:pt>
                <c:pt idx="317">
                  <c:v>-0.16326227317310216</c:v>
                </c:pt>
                <c:pt idx="318">
                  <c:v>-0.15473900869523383</c:v>
                </c:pt>
                <c:pt idx="319">
                  <c:v>-0.1619063700510841</c:v>
                </c:pt>
                <c:pt idx="320">
                  <c:v>-0.1619063700510841</c:v>
                </c:pt>
                <c:pt idx="321">
                  <c:v>-0.1619063700510841</c:v>
                </c:pt>
                <c:pt idx="322">
                  <c:v>-0.15929109707174915</c:v>
                </c:pt>
                <c:pt idx="323">
                  <c:v>-0.16946103220684472</c:v>
                </c:pt>
                <c:pt idx="324">
                  <c:v>-0.14912131763546754</c:v>
                </c:pt>
                <c:pt idx="325">
                  <c:v>-0.14098535395750966</c:v>
                </c:pt>
                <c:pt idx="326">
                  <c:v>-0.13004066152377924</c:v>
                </c:pt>
                <c:pt idx="327">
                  <c:v>-0.13004066152377924</c:v>
                </c:pt>
                <c:pt idx="328">
                  <c:v>-0.13004066152377924</c:v>
                </c:pt>
                <c:pt idx="329">
                  <c:v>-0.13284954597836585</c:v>
                </c:pt>
                <c:pt idx="330">
                  <c:v>-0.1396294508354916</c:v>
                </c:pt>
                <c:pt idx="331">
                  <c:v>-0.12858783589002476</c:v>
                </c:pt>
                <c:pt idx="332">
                  <c:v>-0.12723185491859956</c:v>
                </c:pt>
                <c:pt idx="333">
                  <c:v>-0.1299437390120428</c:v>
                </c:pt>
                <c:pt idx="334">
                  <c:v>-0.1299437390120428</c:v>
                </c:pt>
                <c:pt idx="335">
                  <c:v>-0.1299437390120428</c:v>
                </c:pt>
                <c:pt idx="336">
                  <c:v>-0.12955643821213236</c:v>
                </c:pt>
                <c:pt idx="337">
                  <c:v>-0.13372122578873713</c:v>
                </c:pt>
                <c:pt idx="338">
                  <c:v>-0.11560917199915632</c:v>
                </c:pt>
                <c:pt idx="339">
                  <c:v>-0.11483418115230026</c:v>
                </c:pt>
                <c:pt idx="340">
                  <c:v>-0.10263043025888097</c:v>
                </c:pt>
                <c:pt idx="341">
                  <c:v>-0.10263043025888097</c:v>
                </c:pt>
                <c:pt idx="342">
                  <c:v>-0.10263043025888097</c:v>
                </c:pt>
                <c:pt idx="343">
                  <c:v>-0.10282419743294668</c:v>
                </c:pt>
                <c:pt idx="344">
                  <c:v>-0.1021462069472342</c:v>
                </c:pt>
                <c:pt idx="345">
                  <c:v>-0.10863549996796473</c:v>
                </c:pt>
                <c:pt idx="346">
                  <c:v>-0.10892611180435985</c:v>
                </c:pt>
                <c:pt idx="347">
                  <c:v>-0.12083940656019798</c:v>
                </c:pt>
                <c:pt idx="348">
                  <c:v>-0.12083940656019798</c:v>
                </c:pt>
                <c:pt idx="349">
                  <c:v>-0.12083940656019798</c:v>
                </c:pt>
                <c:pt idx="350">
                  <c:v>-0.13740171220428776</c:v>
                </c:pt>
                <c:pt idx="351">
                  <c:v>-0.13749847901721013</c:v>
                </c:pt>
                <c:pt idx="352">
                  <c:v>-0.1352708960848208</c:v>
                </c:pt>
                <c:pt idx="353">
                  <c:v>-0.12248592151861137</c:v>
                </c:pt>
                <c:pt idx="354">
                  <c:v>-0.14863701647441363</c:v>
                </c:pt>
                <c:pt idx="355">
                  <c:v>-0.14863701647441363</c:v>
                </c:pt>
                <c:pt idx="356">
                  <c:v>-0.14863701647441363</c:v>
                </c:pt>
                <c:pt idx="357">
                  <c:v>-0.15386717318604848</c:v>
                </c:pt>
                <c:pt idx="358">
                  <c:v>-0.16258420483798253</c:v>
                </c:pt>
                <c:pt idx="359">
                  <c:v>-0.16800820657309012</c:v>
                </c:pt>
                <c:pt idx="360">
                  <c:v>-0.17004202233141374</c:v>
                </c:pt>
                <c:pt idx="361">
                  <c:v>-0.17720946153667094</c:v>
                </c:pt>
                <c:pt idx="362">
                  <c:v>-0.17720946153667094</c:v>
                </c:pt>
                <c:pt idx="363">
                  <c:v>-0.17720946153667094</c:v>
                </c:pt>
                <c:pt idx="364">
                  <c:v>-0.17720946153667094</c:v>
                </c:pt>
                <c:pt idx="365">
                  <c:v>-0.18176170561200022</c:v>
                </c:pt>
                <c:pt idx="366">
                  <c:v>-0.1695578768691739</c:v>
                </c:pt>
                <c:pt idx="367">
                  <c:v>-0.16568370112896413</c:v>
                </c:pt>
                <c:pt idx="368">
                  <c:v>-0.15028360928223372</c:v>
                </c:pt>
                <c:pt idx="369">
                  <c:v>-0.15028360928223372</c:v>
                </c:pt>
                <c:pt idx="370">
                  <c:v>-0.15028360928223372</c:v>
                </c:pt>
                <c:pt idx="371">
                  <c:v>-0.13982306231074304</c:v>
                </c:pt>
                <c:pt idx="372">
                  <c:v>-0.17381950910810795</c:v>
                </c:pt>
                <c:pt idx="373">
                  <c:v>-0.1705264791912815</c:v>
                </c:pt>
                <c:pt idx="374">
                  <c:v>-0.17914658833147912</c:v>
                </c:pt>
                <c:pt idx="375">
                  <c:v>-0.18650763901198797</c:v>
                </c:pt>
                <c:pt idx="376">
                  <c:v>-0.18650763901198797</c:v>
                </c:pt>
                <c:pt idx="377">
                  <c:v>-0.18650763901198797</c:v>
                </c:pt>
                <c:pt idx="378">
                  <c:v>-0.18118063763802383</c:v>
                </c:pt>
                <c:pt idx="379">
                  <c:v>-0.19125365026138297</c:v>
                </c:pt>
                <c:pt idx="380">
                  <c:v>-0.2045229259886463</c:v>
                </c:pt>
                <c:pt idx="381">
                  <c:v>-0.2104309953365867</c:v>
                </c:pt>
                <c:pt idx="382">
                  <c:v>-0.22699337883008353</c:v>
                </c:pt>
                <c:pt idx="383">
                  <c:v>-0.22699337883008353</c:v>
                </c:pt>
                <c:pt idx="384">
                  <c:v>-0.22699337883008353</c:v>
                </c:pt>
                <c:pt idx="385">
                  <c:v>-0.23619471164307138</c:v>
                </c:pt>
                <c:pt idx="386">
                  <c:v>-0.23871298426126297</c:v>
                </c:pt>
                <c:pt idx="387">
                  <c:v>-0.22311912524046684</c:v>
                </c:pt>
                <c:pt idx="388">
                  <c:v>-0.2377444597885623</c:v>
                </c:pt>
                <c:pt idx="389">
                  <c:v>-0.24617087960410122</c:v>
                </c:pt>
                <c:pt idx="390">
                  <c:v>-0.24617087960410122</c:v>
                </c:pt>
                <c:pt idx="391">
                  <c:v>-0.24617087960410122</c:v>
                </c:pt>
                <c:pt idx="392">
                  <c:v>-0.22825251513917932</c:v>
                </c:pt>
                <c:pt idx="393">
                  <c:v>-0.20190765300931146</c:v>
                </c:pt>
                <c:pt idx="394">
                  <c:v>-0.2054914504613471</c:v>
                </c:pt>
                <c:pt idx="395">
                  <c:v>-0.2146927054249279</c:v>
                </c:pt>
                <c:pt idx="396">
                  <c:v>-0.23464496349758057</c:v>
                </c:pt>
                <c:pt idx="397">
                  <c:v>-0.23464496349758057</c:v>
                </c:pt>
                <c:pt idx="398">
                  <c:v>-0.23464496349758057</c:v>
                </c:pt>
                <c:pt idx="399">
                  <c:v>-0.2407470335678077</c:v>
                </c:pt>
                <c:pt idx="400">
                  <c:v>-0.2471394040768019</c:v>
                </c:pt>
                <c:pt idx="401">
                  <c:v>-0.2491733755339397</c:v>
                </c:pt>
                <c:pt idx="402">
                  <c:v>-0.23222369124053255</c:v>
                </c:pt>
                <c:pt idx="403">
                  <c:v>-0.2484953850482272</c:v>
                </c:pt>
                <c:pt idx="404">
                  <c:v>-0.2484953850482272</c:v>
                </c:pt>
                <c:pt idx="405">
                  <c:v>-0.2484953850482272</c:v>
                </c:pt>
                <c:pt idx="406">
                  <c:v>-0.22902735028722143</c:v>
                </c:pt>
                <c:pt idx="407">
                  <c:v>-0.22176314426904187</c:v>
                </c:pt>
                <c:pt idx="408">
                  <c:v>-0.22970541862234095</c:v>
                </c:pt>
                <c:pt idx="409">
                  <c:v>-0.23338590503789192</c:v>
                </c:pt>
                <c:pt idx="410">
                  <c:v>-0.21711397768197616</c:v>
                </c:pt>
                <c:pt idx="411">
                  <c:v>-0.21711397768197616</c:v>
                </c:pt>
                <c:pt idx="412">
                  <c:v>-0.21711397768197616</c:v>
                </c:pt>
                <c:pt idx="413">
                  <c:v>-0.2147895500872573</c:v>
                </c:pt>
                <c:pt idx="414">
                  <c:v>-0.2009392063860177</c:v>
                </c:pt>
                <c:pt idx="415">
                  <c:v>-0.2008423617236883</c:v>
                </c:pt>
                <c:pt idx="416">
                  <c:v>-0.20568513978600567</c:v>
                </c:pt>
                <c:pt idx="417">
                  <c:v>-0.19299700988212543</c:v>
                </c:pt>
                <c:pt idx="418">
                  <c:v>-0.19299700988212543</c:v>
                </c:pt>
                <c:pt idx="419">
                  <c:v>-0.19299700988212543</c:v>
                </c:pt>
                <c:pt idx="420">
                  <c:v>-0.19832416695490362</c:v>
                </c:pt>
                <c:pt idx="421">
                  <c:v>-0.19754917610804767</c:v>
                </c:pt>
                <c:pt idx="422">
                  <c:v>-0.2140147149392152</c:v>
                </c:pt>
                <c:pt idx="423">
                  <c:v>-0.22089154230807728</c:v>
                </c:pt>
                <c:pt idx="424">
                  <c:v>-0.20258564349502384</c:v>
                </c:pt>
                <c:pt idx="425">
                  <c:v>-0.20258564349502384</c:v>
                </c:pt>
                <c:pt idx="426">
                  <c:v>-0.20258564349502384</c:v>
                </c:pt>
                <c:pt idx="427">
                  <c:v>-0.19754917610804779</c:v>
                </c:pt>
                <c:pt idx="428">
                  <c:v>-0.1919314850482815</c:v>
                </c:pt>
                <c:pt idx="429">
                  <c:v>-0.20684743143277207</c:v>
                </c:pt>
                <c:pt idx="430">
                  <c:v>-0.16432764230813168</c:v>
                </c:pt>
                <c:pt idx="431">
                  <c:v>-0.15163959025365858</c:v>
                </c:pt>
                <c:pt idx="432">
                  <c:v>-0.15163959025365858</c:v>
                </c:pt>
                <c:pt idx="433">
                  <c:v>-0.15163959025365858</c:v>
                </c:pt>
                <c:pt idx="434">
                  <c:v>-0.1592910970717486</c:v>
                </c:pt>
                <c:pt idx="435">
                  <c:v>-0.15115528909260478</c:v>
                </c:pt>
                <c:pt idx="436">
                  <c:v>-0.157547659601599</c:v>
                </c:pt>
                <c:pt idx="437">
                  <c:v>-0.15958178675755075</c:v>
                </c:pt>
                <c:pt idx="438">
                  <c:v>-0.15793519394973043</c:v>
                </c:pt>
                <c:pt idx="439">
                  <c:v>-0.15793519394973043</c:v>
                </c:pt>
                <c:pt idx="440">
                  <c:v>-0.15793519394973043</c:v>
                </c:pt>
                <c:pt idx="441">
                  <c:v>-0.16258420483798208</c:v>
                </c:pt>
                <c:pt idx="442">
                  <c:v>-0.15212373571589832</c:v>
                </c:pt>
                <c:pt idx="443">
                  <c:v>-0.14553759803283828</c:v>
                </c:pt>
                <c:pt idx="444">
                  <c:v>-0.14553759803283828</c:v>
                </c:pt>
                <c:pt idx="445">
                  <c:v>-0.1448596075471258</c:v>
                </c:pt>
                <c:pt idx="446">
                  <c:v>-0.1448596075471258</c:v>
                </c:pt>
                <c:pt idx="447">
                  <c:v>-0.1448596075471258</c:v>
                </c:pt>
                <c:pt idx="448">
                  <c:v>-0.15725720346401784</c:v>
                </c:pt>
                <c:pt idx="449">
                  <c:v>-0.15551376599386824</c:v>
                </c:pt>
                <c:pt idx="450">
                  <c:v>-0.13149348715753306</c:v>
                </c:pt>
                <c:pt idx="451">
                  <c:v>-0.1302344286978443</c:v>
                </c:pt>
                <c:pt idx="452">
                  <c:v>-0.1310092638458863</c:v>
                </c:pt>
                <c:pt idx="453">
                  <c:v>-0.1310092638458863</c:v>
                </c:pt>
                <c:pt idx="454">
                  <c:v>-0.1310092638458863</c:v>
                </c:pt>
                <c:pt idx="455">
                  <c:v>-0.1458282098692335</c:v>
                </c:pt>
                <c:pt idx="456">
                  <c:v>-0.15493262017048504</c:v>
                </c:pt>
                <c:pt idx="457">
                  <c:v>-0.15648229046656892</c:v>
                </c:pt>
                <c:pt idx="458">
                  <c:v>-0.14999291959643124</c:v>
                </c:pt>
                <c:pt idx="459">
                  <c:v>-0.15406101820952067</c:v>
                </c:pt>
                <c:pt idx="460">
                  <c:v>-0.15406101820952067</c:v>
                </c:pt>
                <c:pt idx="461">
                  <c:v>-0.15406101820952067</c:v>
                </c:pt>
                <c:pt idx="462">
                  <c:v>-0.14650612250553896</c:v>
                </c:pt>
                <c:pt idx="463">
                  <c:v>-0.13863928422763938</c:v>
                </c:pt>
                <c:pt idx="464">
                  <c:v>-0.14195769305115347</c:v>
                </c:pt>
                <c:pt idx="465">
                  <c:v>-0.16304032451369543</c:v>
                </c:pt>
                <c:pt idx="466">
                  <c:v>-0.17114156735612363</c:v>
                </c:pt>
                <c:pt idx="467">
                  <c:v>-0.17114156735612363</c:v>
                </c:pt>
                <c:pt idx="468">
                  <c:v>-0.17114156735612363</c:v>
                </c:pt>
                <c:pt idx="469">
                  <c:v>-0.1762169594466083</c:v>
                </c:pt>
                <c:pt idx="470">
                  <c:v>-0.1743625865714592</c:v>
                </c:pt>
                <c:pt idx="471">
                  <c:v>-0.16352844029569313</c:v>
                </c:pt>
                <c:pt idx="472">
                  <c:v>-0.17358175701907708</c:v>
                </c:pt>
                <c:pt idx="473">
                  <c:v>-0.16977515456415837</c:v>
                </c:pt>
                <c:pt idx="474">
                  <c:v>-0.16977515456415837</c:v>
                </c:pt>
                <c:pt idx="475">
                  <c:v>-0.16977515456415837</c:v>
                </c:pt>
                <c:pt idx="476">
                  <c:v>-0.16977515456415837</c:v>
                </c:pt>
                <c:pt idx="477">
                  <c:v>-0.17006794618394994</c:v>
                </c:pt>
                <c:pt idx="478">
                  <c:v>-0.1808044693033165</c:v>
                </c:pt>
                <c:pt idx="479">
                  <c:v>-0.16655421319822972</c:v>
                </c:pt>
                <c:pt idx="480">
                  <c:v>-0.17153205998172194</c:v>
                </c:pt>
                <c:pt idx="481">
                  <c:v>-0.17153205998172194</c:v>
                </c:pt>
                <c:pt idx="482">
                  <c:v>-0.17153205998172194</c:v>
                </c:pt>
                <c:pt idx="483">
                  <c:v>-0.17153205998172194</c:v>
                </c:pt>
                <c:pt idx="484">
                  <c:v>-0.17133673581951592</c:v>
                </c:pt>
                <c:pt idx="485">
                  <c:v>-0.16079545901294834</c:v>
                </c:pt>
                <c:pt idx="486">
                  <c:v>-0.1693847397879673</c:v>
                </c:pt>
                <c:pt idx="487">
                  <c:v>-0.15015648120057434</c:v>
                </c:pt>
                <c:pt idx="488">
                  <c:v>-0.15015648120057434</c:v>
                </c:pt>
                <c:pt idx="489">
                  <c:v>-0.15015648120057434</c:v>
                </c:pt>
                <c:pt idx="490">
                  <c:v>-0.14830210832542523</c:v>
                </c:pt>
                <c:pt idx="491">
                  <c:v>-0.1435194300053252</c:v>
                </c:pt>
                <c:pt idx="492">
                  <c:v>-0.13453973445411516</c:v>
                </c:pt>
                <c:pt idx="493">
                  <c:v>-0.12848834434785605</c:v>
                </c:pt>
                <c:pt idx="494">
                  <c:v>-0.12458411873653774</c:v>
                </c:pt>
                <c:pt idx="495">
                  <c:v>-0.12458411873653774</c:v>
                </c:pt>
                <c:pt idx="496">
                  <c:v>-0.12458411873653774</c:v>
                </c:pt>
                <c:pt idx="497">
                  <c:v>-0.12458411873653774</c:v>
                </c:pt>
                <c:pt idx="498">
                  <c:v>-0.12516977982552802</c:v>
                </c:pt>
                <c:pt idx="499">
                  <c:v>-0.13473498076691415</c:v>
                </c:pt>
                <c:pt idx="500">
                  <c:v>-0.1381511684456418</c:v>
                </c:pt>
                <c:pt idx="501">
                  <c:v>-0.12477936504933684</c:v>
                </c:pt>
                <c:pt idx="502">
                  <c:v>-0.12477936504933684</c:v>
                </c:pt>
                <c:pt idx="503">
                  <c:v>-0.12477936504933684</c:v>
                </c:pt>
                <c:pt idx="504">
                  <c:v>-0.11706861483250675</c:v>
                </c:pt>
                <c:pt idx="505">
                  <c:v>-0.11823993701048707</c:v>
                </c:pt>
                <c:pt idx="506">
                  <c:v>-0.1161901621237248</c:v>
                </c:pt>
                <c:pt idx="507">
                  <c:v>-0.10867458037028688</c:v>
                </c:pt>
                <c:pt idx="508">
                  <c:v>-0.10818662028710313</c:v>
                </c:pt>
                <c:pt idx="509">
                  <c:v>-0.10818662028710313</c:v>
                </c:pt>
                <c:pt idx="510">
                  <c:v>-0.10818662028710313</c:v>
                </c:pt>
                <c:pt idx="511">
                  <c:v>-0.1189231434064697</c:v>
                </c:pt>
                <c:pt idx="512">
                  <c:v>-0.10935786461567643</c:v>
                </c:pt>
                <c:pt idx="513">
                  <c:v>-0.1002805459080669</c:v>
                </c:pt>
                <c:pt idx="514">
                  <c:v>-0.092960288316835</c:v>
                </c:pt>
                <c:pt idx="515">
                  <c:v>-0.10340386411759594</c:v>
                </c:pt>
                <c:pt idx="516">
                  <c:v>-0.10340386411759594</c:v>
                </c:pt>
                <c:pt idx="517">
                  <c:v>-0.10340386411759594</c:v>
                </c:pt>
                <c:pt idx="518">
                  <c:v>-0.1108219005640414</c:v>
                </c:pt>
                <c:pt idx="519">
                  <c:v>-0.10135424492964773</c:v>
                </c:pt>
                <c:pt idx="520">
                  <c:v>-0.10906499514647783</c:v>
                </c:pt>
                <c:pt idx="521">
                  <c:v>-0.11296922075779614</c:v>
                </c:pt>
                <c:pt idx="522">
                  <c:v>-0.11375005031017837</c:v>
                </c:pt>
                <c:pt idx="523">
                  <c:v>-0.11375005031017837</c:v>
                </c:pt>
                <c:pt idx="524">
                  <c:v>-0.11375005031017837</c:v>
                </c:pt>
                <c:pt idx="525">
                  <c:v>-0.1043800178321842</c:v>
                </c:pt>
                <c:pt idx="526">
                  <c:v>-0.10389205774900057</c:v>
                </c:pt>
                <c:pt idx="527">
                  <c:v>-0.10330631881060326</c:v>
                </c:pt>
                <c:pt idx="528">
                  <c:v>-0.11238355966880587</c:v>
                </c:pt>
                <c:pt idx="529">
                  <c:v>-0.11462850301896021</c:v>
                </c:pt>
                <c:pt idx="530">
                  <c:v>-0.11462850301896021</c:v>
                </c:pt>
                <c:pt idx="531">
                  <c:v>-0.11462850301896021</c:v>
                </c:pt>
                <c:pt idx="532">
                  <c:v>-0.11462850301896021</c:v>
                </c:pt>
                <c:pt idx="533">
                  <c:v>-0.12975721183282884</c:v>
                </c:pt>
                <c:pt idx="534">
                  <c:v>-0.1320998561887896</c:v>
                </c:pt>
                <c:pt idx="535">
                  <c:v>-0.1279027611082727</c:v>
                </c:pt>
                <c:pt idx="536">
                  <c:v>-0.1395177369364211</c:v>
                </c:pt>
                <c:pt idx="537">
                  <c:v>-0.1395177369364211</c:v>
                </c:pt>
                <c:pt idx="538">
                  <c:v>-0.1395177369364211</c:v>
                </c:pt>
                <c:pt idx="539">
                  <c:v>-0.13444218914712247</c:v>
                </c:pt>
                <c:pt idx="540">
                  <c:v>-0.13893207584743095</c:v>
                </c:pt>
                <c:pt idx="541">
                  <c:v>-0.13707754727346777</c:v>
                </c:pt>
                <c:pt idx="542">
                  <c:v>-0.13239264780858118</c:v>
                </c:pt>
                <c:pt idx="543">
                  <c:v>-0.11931355818266076</c:v>
                </c:pt>
                <c:pt idx="544">
                  <c:v>-0.11931355818266076</c:v>
                </c:pt>
                <c:pt idx="545">
                  <c:v>-0.11931355818266076</c:v>
                </c:pt>
                <c:pt idx="546">
                  <c:v>-0.11989921927165104</c:v>
                </c:pt>
                <c:pt idx="547">
                  <c:v>-0.13375898275113962</c:v>
                </c:pt>
                <c:pt idx="548">
                  <c:v>-0.13190453202658348</c:v>
                </c:pt>
                <c:pt idx="549">
                  <c:v>-0.14586191866247167</c:v>
                </c:pt>
                <c:pt idx="550">
                  <c:v>-0.15708663541324297</c:v>
                </c:pt>
                <c:pt idx="551">
                  <c:v>-0.15708663541324297</c:v>
                </c:pt>
                <c:pt idx="552">
                  <c:v>-0.15708663541324297</c:v>
                </c:pt>
                <c:pt idx="553">
                  <c:v>-0.15923379990818365</c:v>
                </c:pt>
                <c:pt idx="554">
                  <c:v>-0.14761882408003524</c:v>
                </c:pt>
                <c:pt idx="555">
                  <c:v>-0.1594289683715756</c:v>
                </c:pt>
                <c:pt idx="556">
                  <c:v>-0.1457643733554791</c:v>
                </c:pt>
                <c:pt idx="557">
                  <c:v>-0.15503678267707366</c:v>
                </c:pt>
                <c:pt idx="558">
                  <c:v>-0.15503678267707366</c:v>
                </c:pt>
                <c:pt idx="559">
                  <c:v>-0.15503678267707366</c:v>
                </c:pt>
                <c:pt idx="560">
                  <c:v>-0.14683791667824597</c:v>
                </c:pt>
                <c:pt idx="561">
                  <c:v>-0.1355158881687032</c:v>
                </c:pt>
                <c:pt idx="562">
                  <c:v>-0.1447883753397048</c:v>
                </c:pt>
                <c:pt idx="563">
                  <c:v>-0.14254335414014363</c:v>
                </c:pt>
                <c:pt idx="564">
                  <c:v>-0.14049381280160245</c:v>
                </c:pt>
                <c:pt idx="565">
                  <c:v>-0.14049381280160245</c:v>
                </c:pt>
                <c:pt idx="566">
                  <c:v>-0.14049381280160245</c:v>
                </c:pt>
                <c:pt idx="567">
                  <c:v>-0.13746796204965883</c:v>
                </c:pt>
                <c:pt idx="568">
                  <c:v>-0.1366871324972765</c:v>
                </c:pt>
                <c:pt idx="569">
                  <c:v>-0.12614585569070902</c:v>
                </c:pt>
                <c:pt idx="570">
                  <c:v>-0.11902068871346205</c:v>
                </c:pt>
                <c:pt idx="571">
                  <c:v>-0.11023623947505112</c:v>
                </c:pt>
                <c:pt idx="572">
                  <c:v>-0.11023623947505112</c:v>
                </c:pt>
                <c:pt idx="573">
                  <c:v>-0.11023623947505112</c:v>
                </c:pt>
                <c:pt idx="574">
                  <c:v>-0.10506330207757386</c:v>
                </c:pt>
                <c:pt idx="575">
                  <c:v>-0.10818662028710291</c:v>
                </c:pt>
                <c:pt idx="576">
                  <c:v>-0.11277405229440396</c:v>
                </c:pt>
                <c:pt idx="577">
                  <c:v>-0.10926016360986979</c:v>
                </c:pt>
                <c:pt idx="578">
                  <c:v>-0.10926016360986979</c:v>
                </c:pt>
                <c:pt idx="579">
                  <c:v>-0.10926016360986979</c:v>
                </c:pt>
                <c:pt idx="580">
                  <c:v>-0.10926016360986979</c:v>
                </c:pt>
                <c:pt idx="581">
                  <c:v>-0.10867458037028654</c:v>
                </c:pt>
                <c:pt idx="582">
                  <c:v>-0.10691775280213</c:v>
                </c:pt>
                <c:pt idx="583">
                  <c:v>-0.10838178875049498</c:v>
                </c:pt>
                <c:pt idx="584">
                  <c:v>-0.09647409915196203</c:v>
                </c:pt>
                <c:pt idx="585">
                  <c:v>-0.09910930157949338</c:v>
                </c:pt>
                <c:pt idx="586">
                  <c:v>-0.09910930157949338</c:v>
                </c:pt>
                <c:pt idx="587">
                  <c:v>-0.09910930157949338</c:v>
                </c:pt>
                <c:pt idx="588">
                  <c:v>-0.09745009716773634</c:v>
                </c:pt>
                <c:pt idx="589">
                  <c:v>-0.09579081490657215</c:v>
                </c:pt>
                <c:pt idx="590">
                  <c:v>-0.09764542132994236</c:v>
                </c:pt>
                <c:pt idx="591">
                  <c:v>-0.10096375230404941</c:v>
                </c:pt>
                <c:pt idx="592">
                  <c:v>-0.10037816906446628</c:v>
                </c:pt>
                <c:pt idx="593">
                  <c:v>-0.10037816906446628</c:v>
                </c:pt>
                <c:pt idx="594">
                  <c:v>-0.10037816906446628</c:v>
                </c:pt>
                <c:pt idx="595">
                  <c:v>-0.09998775428827511</c:v>
                </c:pt>
                <c:pt idx="596">
                  <c:v>-0.114433256706161</c:v>
                </c:pt>
                <c:pt idx="597">
                  <c:v>-0.11667820005631524</c:v>
                </c:pt>
                <c:pt idx="598">
                  <c:v>-0.10154941339303969</c:v>
                </c:pt>
                <c:pt idx="599">
                  <c:v>-0.09627885283916282</c:v>
                </c:pt>
                <c:pt idx="600">
                  <c:v>-0.09627885283916282</c:v>
                </c:pt>
                <c:pt idx="601">
                  <c:v>-0.09627885283916282</c:v>
                </c:pt>
                <c:pt idx="602">
                  <c:v>-0.09745009716773623</c:v>
                </c:pt>
                <c:pt idx="603">
                  <c:v>-0.10760095919811263</c:v>
                </c:pt>
                <c:pt idx="604">
                  <c:v>-0.11082190056404118</c:v>
                </c:pt>
                <c:pt idx="605">
                  <c:v>-0.11404291977937675</c:v>
                </c:pt>
                <c:pt idx="606">
                  <c:v>-0.0990117562725008</c:v>
                </c:pt>
                <c:pt idx="607">
                  <c:v>-0.0990117562725008</c:v>
                </c:pt>
                <c:pt idx="608">
                  <c:v>-0.0990117562725008</c:v>
                </c:pt>
                <c:pt idx="609">
                  <c:v>-0.09862134149630974</c:v>
                </c:pt>
                <c:pt idx="610">
                  <c:v>-0.10242794395122856</c:v>
                </c:pt>
                <c:pt idx="611">
                  <c:v>-0.10018292275166729</c:v>
                </c:pt>
                <c:pt idx="612">
                  <c:v>-0.10242794395122856</c:v>
                </c:pt>
                <c:pt idx="613">
                  <c:v>-0.10496567892117437</c:v>
                </c:pt>
                <c:pt idx="614">
                  <c:v>-0.10496567892117437</c:v>
                </c:pt>
                <c:pt idx="615">
                  <c:v>-0.10496567892117437</c:v>
                </c:pt>
                <c:pt idx="616">
                  <c:v>-0.09881658780910874</c:v>
                </c:pt>
                <c:pt idx="617">
                  <c:v>-0.1060393779427552</c:v>
                </c:pt>
                <c:pt idx="618">
                  <c:v>-0.09764542132994236</c:v>
                </c:pt>
                <c:pt idx="619">
                  <c:v>-0.09315545678022685</c:v>
                </c:pt>
                <c:pt idx="620">
                  <c:v>-0.09256979569123669</c:v>
                </c:pt>
                <c:pt idx="621">
                  <c:v>-0.09256979569123669</c:v>
                </c:pt>
                <c:pt idx="622">
                  <c:v>-0.09256979569123669</c:v>
                </c:pt>
                <c:pt idx="623">
                  <c:v>-0.09120338289927121</c:v>
                </c:pt>
                <c:pt idx="624">
                  <c:v>-0.10262311241462052</c:v>
                </c:pt>
                <c:pt idx="625">
                  <c:v>-0.11091960156984781</c:v>
                </c:pt>
                <c:pt idx="626">
                  <c:v>-0.10730816757832096</c:v>
                </c:pt>
                <c:pt idx="627">
                  <c:v>-0.09559556859377305</c:v>
                </c:pt>
                <c:pt idx="628">
                  <c:v>-0.09559556859377305</c:v>
                </c:pt>
                <c:pt idx="629">
                  <c:v>-0.09559556859377305</c:v>
                </c:pt>
                <c:pt idx="630">
                  <c:v>-0.09559556859377305</c:v>
                </c:pt>
                <c:pt idx="631">
                  <c:v>-0.09930462574169929</c:v>
                </c:pt>
                <c:pt idx="632">
                  <c:v>-0.10574643062414935</c:v>
                </c:pt>
                <c:pt idx="633">
                  <c:v>-0.09510753066118227</c:v>
                </c:pt>
                <c:pt idx="634">
                  <c:v>-0.08163818195788475</c:v>
                </c:pt>
                <c:pt idx="635">
                  <c:v>-0.08163818195788475</c:v>
                </c:pt>
                <c:pt idx="636">
                  <c:v>-0.08163818195788475</c:v>
                </c:pt>
                <c:pt idx="637">
                  <c:v>-0.08407829377143106</c:v>
                </c:pt>
                <c:pt idx="638">
                  <c:v>-0.07968603022752208</c:v>
                </c:pt>
                <c:pt idx="639">
                  <c:v>-0.08458657254984614</c:v>
                </c:pt>
                <c:pt idx="640">
                  <c:v>-0.07798027187036871</c:v>
                </c:pt>
                <c:pt idx="641">
                  <c:v>-0.07669855923323798</c:v>
                </c:pt>
                <c:pt idx="642">
                  <c:v>-0.07669855923323798</c:v>
                </c:pt>
                <c:pt idx="643">
                  <c:v>-0.07669855923323798</c:v>
                </c:pt>
                <c:pt idx="644">
                  <c:v>-0.06999362335506987</c:v>
                </c:pt>
                <c:pt idx="645">
                  <c:v>-0.06279566718226182</c:v>
                </c:pt>
                <c:pt idx="646">
                  <c:v>-0.06052791395585155</c:v>
                </c:pt>
                <c:pt idx="647">
                  <c:v>-0.04987897141937925</c:v>
                </c:pt>
                <c:pt idx="648">
                  <c:v>-0.052639744940429334</c:v>
                </c:pt>
                <c:pt idx="649">
                  <c:v>-0.052639744940429334</c:v>
                </c:pt>
                <c:pt idx="650">
                  <c:v>-0.052639744940429334</c:v>
                </c:pt>
                <c:pt idx="651">
                  <c:v>-0.052639744940429334</c:v>
                </c:pt>
                <c:pt idx="652">
                  <c:v>-0.06131676199715663</c:v>
                </c:pt>
                <c:pt idx="653">
                  <c:v>-0.0645704779634394</c:v>
                </c:pt>
                <c:pt idx="654">
                  <c:v>-0.06437336326487186</c:v>
                </c:pt>
                <c:pt idx="655">
                  <c:v>-0.0740361873626576</c:v>
                </c:pt>
                <c:pt idx="656">
                  <c:v>-0.0740361873626576</c:v>
                </c:pt>
                <c:pt idx="657">
                  <c:v>-0.0740361873626576</c:v>
                </c:pt>
                <c:pt idx="658">
                  <c:v>-0.07561380559586062</c:v>
                </c:pt>
                <c:pt idx="659">
                  <c:v>-0.06585234629938419</c:v>
                </c:pt>
                <c:pt idx="660">
                  <c:v>-0.06595090364866785</c:v>
                </c:pt>
                <c:pt idx="661">
                  <c:v>-0.06437336326487186</c:v>
                </c:pt>
                <c:pt idx="662">
                  <c:v>-0.05402009277625086</c:v>
                </c:pt>
                <c:pt idx="663">
                  <c:v>-0.05402009277625086</c:v>
                </c:pt>
                <c:pt idx="664">
                  <c:v>-0.05402009277625086</c:v>
                </c:pt>
                <c:pt idx="665">
                  <c:v>-0.05175241739924763</c:v>
                </c:pt>
                <c:pt idx="666">
                  <c:v>-0.05175241739924763</c:v>
                </c:pt>
                <c:pt idx="667">
                  <c:v>-0.056386559050758955</c:v>
                </c:pt>
                <c:pt idx="668">
                  <c:v>-0.06802162002591772</c:v>
                </c:pt>
                <c:pt idx="669">
                  <c:v>-0.06614809619664241</c:v>
                </c:pt>
                <c:pt idx="670">
                  <c:v>-0.06614809619664241</c:v>
                </c:pt>
                <c:pt idx="671">
                  <c:v>-0.06614809619664241</c:v>
                </c:pt>
                <c:pt idx="672">
                  <c:v>-0.06378170777154146</c:v>
                </c:pt>
                <c:pt idx="673">
                  <c:v>-0.056386559050759066</c:v>
                </c:pt>
                <c:pt idx="674">
                  <c:v>-0.045047481521079624</c:v>
                </c:pt>
                <c:pt idx="675">
                  <c:v>-0.03420134643663286</c:v>
                </c:pt>
                <c:pt idx="676">
                  <c:v>-0.03686356260839918</c:v>
                </c:pt>
                <c:pt idx="677">
                  <c:v>-0.03686356260839918</c:v>
                </c:pt>
                <c:pt idx="678">
                  <c:v>-0.03686356260839918</c:v>
                </c:pt>
                <c:pt idx="679">
                  <c:v>-0.03439853898460732</c:v>
                </c:pt>
                <c:pt idx="680">
                  <c:v>-0.028975471442383882</c:v>
                </c:pt>
                <c:pt idx="681">
                  <c:v>-0.027792316154536922</c:v>
                </c:pt>
                <c:pt idx="682">
                  <c:v>-0.03429990378591663</c:v>
                </c:pt>
                <c:pt idx="683">
                  <c:v>-0.03380696134068384</c:v>
                </c:pt>
                <c:pt idx="684">
                  <c:v>-0.03380696134068384</c:v>
                </c:pt>
                <c:pt idx="685">
                  <c:v>-0.03380696134068384</c:v>
                </c:pt>
                <c:pt idx="686">
                  <c:v>-0.030355897127612552</c:v>
                </c:pt>
                <c:pt idx="687">
                  <c:v>-0.02720058281179938</c:v>
                </c:pt>
                <c:pt idx="688">
                  <c:v>-0.02591887017466854</c:v>
                </c:pt>
                <c:pt idx="689">
                  <c:v>-0.032032150559506256</c:v>
                </c:pt>
                <c:pt idx="690">
                  <c:v>-0.021876228317673774</c:v>
                </c:pt>
                <c:pt idx="691">
                  <c:v>-0.021876228317673774</c:v>
                </c:pt>
                <c:pt idx="692">
                  <c:v>-0.021876228317673774</c:v>
                </c:pt>
                <c:pt idx="693">
                  <c:v>-0.020002782337805503</c:v>
                </c:pt>
                <c:pt idx="694">
                  <c:v>-0.02680635341466442</c:v>
                </c:pt>
                <c:pt idx="695">
                  <c:v>-0.0428782077945461</c:v>
                </c:pt>
                <c:pt idx="696">
                  <c:v>-0.045146116719770424</c:v>
                </c:pt>
                <c:pt idx="697">
                  <c:v>-0.04711804219951543</c:v>
                </c:pt>
                <c:pt idx="698">
                  <c:v>-0.04711804219951543</c:v>
                </c:pt>
                <c:pt idx="699">
                  <c:v>-0.04711804219951543</c:v>
                </c:pt>
                <c:pt idx="700">
                  <c:v>-0.04070901191741949</c:v>
                </c:pt>
                <c:pt idx="701">
                  <c:v>-0.04623055895951966</c:v>
                </c:pt>
                <c:pt idx="702">
                  <c:v>-0.05027335651532849</c:v>
                </c:pt>
                <c:pt idx="703">
                  <c:v>-0.04879437348081617</c:v>
                </c:pt>
                <c:pt idx="704">
                  <c:v>-0.05234399504317122</c:v>
                </c:pt>
                <c:pt idx="705">
                  <c:v>-0.05234399504317122</c:v>
                </c:pt>
                <c:pt idx="706">
                  <c:v>-0.05234399504317122</c:v>
                </c:pt>
                <c:pt idx="707">
                  <c:v>-0.05047047121389581</c:v>
                </c:pt>
                <c:pt idx="708">
                  <c:v>-0.06210545433964765</c:v>
                </c:pt>
                <c:pt idx="709">
                  <c:v>-0.06930333266304856</c:v>
                </c:pt>
                <c:pt idx="710">
                  <c:v>-0.07541661304788616</c:v>
                </c:pt>
                <c:pt idx="711">
                  <c:v>-0.07581107599324222</c:v>
                </c:pt>
                <c:pt idx="712">
                  <c:v>-0.07581107599324222</c:v>
                </c:pt>
                <c:pt idx="713">
                  <c:v>-0.07581107599324222</c:v>
                </c:pt>
                <c:pt idx="714">
                  <c:v>-0.07097950824553523</c:v>
                </c:pt>
                <c:pt idx="715">
                  <c:v>-0.0730502246227851</c:v>
                </c:pt>
                <c:pt idx="716">
                  <c:v>-0.06210545433964765</c:v>
                </c:pt>
                <c:pt idx="717">
                  <c:v>-0.07403618736265771</c:v>
                </c:pt>
                <c:pt idx="718">
                  <c:v>-0.06841592727245971</c:v>
                </c:pt>
                <c:pt idx="719">
                  <c:v>-0.06841592727245971</c:v>
                </c:pt>
                <c:pt idx="720">
                  <c:v>-0.06841592727245971</c:v>
                </c:pt>
                <c:pt idx="721">
                  <c:v>-0.06121812679846583</c:v>
                </c:pt>
                <c:pt idx="722">
                  <c:v>-0.04790696809022732</c:v>
                </c:pt>
                <c:pt idx="723">
                  <c:v>-0.045540501815719225</c:v>
                </c:pt>
                <c:pt idx="724">
                  <c:v>-0.04849846788474377</c:v>
                </c:pt>
                <c:pt idx="725">
                  <c:v>-0.04583640741179151</c:v>
                </c:pt>
                <c:pt idx="726">
                  <c:v>-0.04583640741179151</c:v>
                </c:pt>
                <c:pt idx="727">
                  <c:v>-0.04583640741179151</c:v>
                </c:pt>
                <c:pt idx="728">
                  <c:v>-0.04583640741179151</c:v>
                </c:pt>
                <c:pt idx="729">
                  <c:v>-0.051357954453891574</c:v>
                </c:pt>
                <c:pt idx="730">
                  <c:v>-0.0568796571948057</c:v>
                </c:pt>
                <c:pt idx="731">
                  <c:v>-0.060429278757160865</c:v>
                </c:pt>
                <c:pt idx="732">
                  <c:v>-0.06003481581180492</c:v>
                </c:pt>
                <c:pt idx="733">
                  <c:v>-0.06003481581180492</c:v>
                </c:pt>
                <c:pt idx="734">
                  <c:v>-0.06003481581180492</c:v>
                </c:pt>
                <c:pt idx="735">
                  <c:v>-0.05194945424840813</c:v>
                </c:pt>
                <c:pt idx="736">
                  <c:v>-0.056485116400042834</c:v>
                </c:pt>
                <c:pt idx="737">
                  <c:v>-0.05618936650278461</c:v>
                </c:pt>
                <c:pt idx="738">
                  <c:v>-0.047512427295464454</c:v>
                </c:pt>
                <c:pt idx="739">
                  <c:v>-0.055203325913505186</c:v>
                </c:pt>
                <c:pt idx="740">
                  <c:v>-0.055203325913505186</c:v>
                </c:pt>
                <c:pt idx="741">
                  <c:v>-0.055203325913505186</c:v>
                </c:pt>
                <c:pt idx="742">
                  <c:v>-0.05618936650278461</c:v>
                </c:pt>
                <c:pt idx="743">
                  <c:v>-0.05826000503062745</c:v>
                </c:pt>
                <c:pt idx="744">
                  <c:v>-0.06437336326487209</c:v>
                </c:pt>
                <c:pt idx="745">
                  <c:v>-0.07985364000083017</c:v>
                </c:pt>
                <c:pt idx="746">
                  <c:v>-0.08044521764475365</c:v>
                </c:pt>
                <c:pt idx="747">
                  <c:v>-0.08044521764475365</c:v>
                </c:pt>
                <c:pt idx="748">
                  <c:v>-0.08044521764475365</c:v>
                </c:pt>
                <c:pt idx="749">
                  <c:v>-0.07926206235690658</c:v>
                </c:pt>
                <c:pt idx="750">
                  <c:v>-0.0926718562638359</c:v>
                </c:pt>
                <c:pt idx="751">
                  <c:v>-0.09227739331847984</c:v>
                </c:pt>
                <c:pt idx="752">
                  <c:v>-0.08665721107768898</c:v>
                </c:pt>
                <c:pt idx="753">
                  <c:v>-0.08922079205076461</c:v>
                </c:pt>
                <c:pt idx="754">
                  <c:v>-0.08922079205076461</c:v>
                </c:pt>
                <c:pt idx="755">
                  <c:v>-0.08922079205076461</c:v>
                </c:pt>
                <c:pt idx="756">
                  <c:v>-0.09326343390775949</c:v>
                </c:pt>
                <c:pt idx="757">
                  <c:v>-0.105391359478744</c:v>
                </c:pt>
                <c:pt idx="758">
                  <c:v>-0.10154598801913073</c:v>
                </c:pt>
                <c:pt idx="759">
                  <c:v>-0.09927815694331332</c:v>
                </c:pt>
                <c:pt idx="760">
                  <c:v>-0.0881361941122013</c:v>
                </c:pt>
                <c:pt idx="761">
                  <c:v>-0.0881361941122013</c:v>
                </c:pt>
                <c:pt idx="762">
                  <c:v>-0.0881361941122013</c:v>
                </c:pt>
                <c:pt idx="763">
                  <c:v>-0.08488232244710436</c:v>
                </c:pt>
                <c:pt idx="764">
                  <c:v>-0.07719150167847066</c:v>
                </c:pt>
                <c:pt idx="765">
                  <c:v>-0.07295166727350133</c:v>
                </c:pt>
                <c:pt idx="766">
                  <c:v>-0.08005091039821144</c:v>
                </c:pt>
                <c:pt idx="767">
                  <c:v>-0.08527678539246031</c:v>
                </c:pt>
                <c:pt idx="768">
                  <c:v>-0.08527678539246031</c:v>
                </c:pt>
                <c:pt idx="769">
                  <c:v>-0.08527678539246031</c:v>
                </c:pt>
                <c:pt idx="770">
                  <c:v>-0.07689559608239827</c:v>
                </c:pt>
                <c:pt idx="771">
                  <c:v>-0.07650113313704221</c:v>
                </c:pt>
                <c:pt idx="772">
                  <c:v>-0.0897138123454041</c:v>
                </c:pt>
                <c:pt idx="773">
                  <c:v>-0.09789773125808465</c:v>
                </c:pt>
                <c:pt idx="774">
                  <c:v>-0.10864515329443358</c:v>
                </c:pt>
                <c:pt idx="775">
                  <c:v>-0.10864515329443358</c:v>
                </c:pt>
                <c:pt idx="776">
                  <c:v>-0.10864515329443358</c:v>
                </c:pt>
                <c:pt idx="777">
                  <c:v>-0.1093354439864549</c:v>
                </c:pt>
                <c:pt idx="778">
                  <c:v>-0.10282785635507519</c:v>
                </c:pt>
                <c:pt idx="779">
                  <c:v>-0.11426549123403851</c:v>
                </c:pt>
                <c:pt idx="780">
                  <c:v>-0.12333673768790065</c:v>
                </c:pt>
                <c:pt idx="781">
                  <c:v>-0.12649212985312086</c:v>
                </c:pt>
                <c:pt idx="782">
                  <c:v>-0.12649212985312086</c:v>
                </c:pt>
                <c:pt idx="783">
                  <c:v>-0.12649212985312086</c:v>
                </c:pt>
                <c:pt idx="784">
                  <c:v>-0.11633612976188124</c:v>
                </c:pt>
                <c:pt idx="785">
                  <c:v>-0.11239212310357716</c:v>
                </c:pt>
                <c:pt idx="786">
                  <c:v>-0.10351791349887551</c:v>
                </c:pt>
                <c:pt idx="787">
                  <c:v>-0.0857697278376931</c:v>
                </c:pt>
                <c:pt idx="788">
                  <c:v>-0.07521949834931863</c:v>
                </c:pt>
                <c:pt idx="789">
                  <c:v>-0.07521949834931863</c:v>
                </c:pt>
                <c:pt idx="790">
                  <c:v>-0.07521949834931863</c:v>
                </c:pt>
                <c:pt idx="791">
                  <c:v>-0.07443065030801355</c:v>
                </c:pt>
                <c:pt idx="792">
                  <c:v>-0.07492367060265326</c:v>
                </c:pt>
                <c:pt idx="793">
                  <c:v>-0.0751207853012208</c:v>
                </c:pt>
                <c:pt idx="794">
                  <c:v>-0.08064256589154195</c:v>
                </c:pt>
                <c:pt idx="795">
                  <c:v>-0.07009225855376033</c:v>
                </c:pt>
                <c:pt idx="796">
                  <c:v>-0.07009225855376033</c:v>
                </c:pt>
                <c:pt idx="797">
                  <c:v>-0.07009225855376033</c:v>
                </c:pt>
                <c:pt idx="798">
                  <c:v>-0.06989491030697181</c:v>
                </c:pt>
                <c:pt idx="799">
                  <c:v>-0.04958314367271377</c:v>
                </c:pt>
                <c:pt idx="800">
                  <c:v>-0.04761114034356184</c:v>
                </c:pt>
                <c:pt idx="801">
                  <c:v>-0.04830127533676909</c:v>
                </c:pt>
                <c:pt idx="802">
                  <c:v>-0.044061440931799756</c:v>
                </c:pt>
                <c:pt idx="803">
                  <c:v>-0.044061440931799756</c:v>
                </c:pt>
                <c:pt idx="804">
                  <c:v>-0.044061440931799756</c:v>
                </c:pt>
                <c:pt idx="805">
                  <c:v>-0.03735658290303867</c:v>
                </c:pt>
                <c:pt idx="806">
                  <c:v>-0.03992024172552122</c:v>
                </c:pt>
                <c:pt idx="807">
                  <c:v>-0.03725794770434798</c:v>
                </c:pt>
                <c:pt idx="808">
                  <c:v>-0.03725794770434798</c:v>
                </c:pt>
                <c:pt idx="809">
                  <c:v>-0.03489155927924681</c:v>
                </c:pt>
                <c:pt idx="810">
                  <c:v>-0.03489155927924681</c:v>
                </c:pt>
                <c:pt idx="811">
                  <c:v>-0.03489155927924681</c:v>
                </c:pt>
                <c:pt idx="812">
                  <c:v>-0.037455062402915296</c:v>
                </c:pt>
                <c:pt idx="813">
                  <c:v>-0.035877599868526344</c:v>
                </c:pt>
                <c:pt idx="814">
                  <c:v>-0.03597615721781011</c:v>
                </c:pt>
                <c:pt idx="815">
                  <c:v>-0.03351113359401836</c:v>
                </c:pt>
                <c:pt idx="816">
                  <c:v>-0.02631325527061734</c:v>
                </c:pt>
                <c:pt idx="817">
                  <c:v>-0.02631325527061734</c:v>
                </c:pt>
                <c:pt idx="818">
                  <c:v>-0.02631325527061734</c:v>
                </c:pt>
                <c:pt idx="819">
                  <c:v>-0.03232797830617129</c:v>
                </c:pt>
                <c:pt idx="820">
                  <c:v>-0.03420134643663253</c:v>
                </c:pt>
                <c:pt idx="821">
                  <c:v>-0.03607471456709377</c:v>
                </c:pt>
                <c:pt idx="822">
                  <c:v>-0.029862876832972285</c:v>
                </c:pt>
                <c:pt idx="823">
                  <c:v>-0.026707640366566143</c:v>
                </c:pt>
                <c:pt idx="824">
                  <c:v>-0.026707640366566143</c:v>
                </c:pt>
                <c:pt idx="825">
                  <c:v>-0.026707640366566143</c:v>
                </c:pt>
                <c:pt idx="826">
                  <c:v>-0.02325665400290189</c:v>
                </c:pt>
                <c:pt idx="827">
                  <c:v>-0.020101417536495858</c:v>
                </c:pt>
                <c:pt idx="828">
                  <c:v>-0.006592988430875746</c:v>
                </c:pt>
                <c:pt idx="829">
                  <c:v>-0.0001839581487799169</c:v>
                </c:pt>
                <c:pt idx="830">
                  <c:v>-0.004423792553749251</c:v>
                </c:pt>
                <c:pt idx="831">
                  <c:v>-0.004423792553749251</c:v>
                </c:pt>
                <c:pt idx="832">
                  <c:v>-0.004423792553749251</c:v>
                </c:pt>
                <c:pt idx="833">
                  <c:v>1.3312248601682342e-05</c:v>
                </c:pt>
                <c:pt idx="834">
                  <c:v>0.007211190572002701</c:v>
                </c:pt>
                <c:pt idx="835">
                  <c:v>-0.006803804625078236</c:v>
                </c:pt>
                <c:pt idx="836">
                  <c:v>0.005638476851441698</c:v>
                </c:pt>
                <c:pt idx="837">
                  <c:v>0.007131628478031171</c:v>
                </c:pt>
                <c:pt idx="838">
                  <c:v>0.007131628478031171</c:v>
                </c:pt>
                <c:pt idx="839">
                  <c:v>0.007131628478031171</c:v>
                </c:pt>
                <c:pt idx="840">
                  <c:v>0.007131628478031171</c:v>
                </c:pt>
                <c:pt idx="841">
                  <c:v>0.012008893827657241</c:v>
                </c:pt>
                <c:pt idx="842">
                  <c:v>0.014895549839854194</c:v>
                </c:pt>
                <c:pt idx="843">
                  <c:v>0.014895549839854194</c:v>
                </c:pt>
                <c:pt idx="844">
                  <c:v>0.013004276345778942</c:v>
                </c:pt>
                <c:pt idx="845">
                  <c:v>0.013004276345778942</c:v>
                </c:pt>
                <c:pt idx="846">
                  <c:v>0.013004276345778942</c:v>
                </c:pt>
                <c:pt idx="847">
                  <c:v>0.013004276345778942</c:v>
                </c:pt>
                <c:pt idx="848">
                  <c:v>0.004344464008002591</c:v>
                </c:pt>
                <c:pt idx="849">
                  <c:v>-0.0036186739863771633</c:v>
                </c:pt>
                <c:pt idx="850">
                  <c:v>-0.004713548046666793</c:v>
                </c:pt>
                <c:pt idx="851">
                  <c:v>-0.003817657070713132</c:v>
                </c:pt>
                <c:pt idx="852">
                  <c:v>-0.003817657070713132</c:v>
                </c:pt>
                <c:pt idx="853">
                  <c:v>-0.003817657070713132</c:v>
                </c:pt>
                <c:pt idx="854">
                  <c:v>0.008126933146745952</c:v>
                </c:pt>
                <c:pt idx="855">
                  <c:v>0.003548142423623668</c:v>
                </c:pt>
                <c:pt idx="856">
                  <c:v>0.008226502538320801</c:v>
                </c:pt>
                <c:pt idx="857">
                  <c:v>0.00772873342985303</c:v>
                </c:pt>
                <c:pt idx="858">
                  <c:v>0.009819067857671282</c:v>
                </c:pt>
                <c:pt idx="859">
                  <c:v>0.009819067857671282</c:v>
                </c:pt>
                <c:pt idx="860">
                  <c:v>0.009819067857671282</c:v>
                </c:pt>
                <c:pt idx="861">
                  <c:v>0.009819067857671282</c:v>
                </c:pt>
                <c:pt idx="862">
                  <c:v>0.0009601167367450092</c:v>
                </c:pt>
                <c:pt idx="863">
                  <c:v>-0.006704313082909863</c:v>
                </c:pt>
                <c:pt idx="864">
                  <c:v>0.0019555771042736314</c:v>
                </c:pt>
                <c:pt idx="865">
                  <c:v>0.012008893827657463</c:v>
                </c:pt>
                <c:pt idx="866">
                  <c:v>0.012008893827657463</c:v>
                </c:pt>
                <c:pt idx="867">
                  <c:v>0.012008893827657463</c:v>
                </c:pt>
                <c:pt idx="868">
                  <c:v>0.013601614845821786</c:v>
                </c:pt>
                <c:pt idx="869">
                  <c:v>0.015691793574825752</c:v>
                </c:pt>
                <c:pt idx="870">
                  <c:v>0.019076140846083334</c:v>
                </c:pt>
                <c:pt idx="871">
                  <c:v>0.023157318159551687</c:v>
                </c:pt>
                <c:pt idx="872">
                  <c:v>0.024053131286098317</c:v>
                </c:pt>
                <c:pt idx="873">
                  <c:v>0.024053131286098317</c:v>
                </c:pt>
                <c:pt idx="874">
                  <c:v>0.024053131286098317</c:v>
                </c:pt>
                <c:pt idx="875">
                  <c:v>0.03082167012979964</c:v>
                </c:pt>
                <c:pt idx="876">
                  <c:v>0.02912953541887431</c:v>
                </c:pt>
                <c:pt idx="877">
                  <c:v>0.015791440815807745</c:v>
                </c:pt>
                <c:pt idx="878">
                  <c:v>0.02843278322607068</c:v>
                </c:pt>
                <c:pt idx="879">
                  <c:v>0.03261337423229982</c:v>
                </c:pt>
                <c:pt idx="880">
                  <c:v>0.03261337423229982</c:v>
                </c:pt>
                <c:pt idx="881">
                  <c:v>0.03261337423229982</c:v>
                </c:pt>
                <c:pt idx="882">
                  <c:v>0.0286319220092206</c:v>
                </c:pt>
                <c:pt idx="883">
                  <c:v>0.03460421711795014</c:v>
                </c:pt>
                <c:pt idx="884">
                  <c:v>0.039879760033876055</c:v>
                </c:pt>
                <c:pt idx="885">
                  <c:v>0.039680621250726134</c:v>
                </c:pt>
                <c:pt idx="886">
                  <c:v>0.04525487234137682</c:v>
                </c:pt>
                <c:pt idx="887">
                  <c:v>0.04525487234137682</c:v>
                </c:pt>
                <c:pt idx="888">
                  <c:v>0.04525487234137682</c:v>
                </c:pt>
                <c:pt idx="889">
                  <c:v>0.046548807335409226</c:v>
                </c:pt>
                <c:pt idx="890">
                  <c:v>0.02992585700325301</c:v>
                </c:pt>
                <c:pt idx="891">
                  <c:v>0.04127326441948331</c:v>
                </c:pt>
                <c:pt idx="892">
                  <c:v>0.049634446431941814</c:v>
                </c:pt>
                <c:pt idx="893">
                  <c:v>0.047046576443877</c:v>
                </c:pt>
                <c:pt idx="894">
                  <c:v>0.047046576443877</c:v>
                </c:pt>
                <c:pt idx="895">
                  <c:v>0.047046576443877</c:v>
                </c:pt>
                <c:pt idx="896">
                  <c:v>0.047046576443877</c:v>
                </c:pt>
                <c:pt idx="897">
                  <c:v>0.04406042888951234</c:v>
                </c:pt>
                <c:pt idx="898">
                  <c:v>0.04435898136542327</c:v>
                </c:pt>
                <c:pt idx="899">
                  <c:v>0.062375513932593885</c:v>
                </c:pt>
                <c:pt idx="900">
                  <c:v>0.06277355795067274</c:v>
                </c:pt>
                <c:pt idx="901">
                  <c:v>0.06277355795067274</c:v>
                </c:pt>
                <c:pt idx="902">
                  <c:v>0.06277355795067274</c:v>
                </c:pt>
                <c:pt idx="903">
                  <c:v>0.05988705763728985</c:v>
                </c:pt>
                <c:pt idx="904">
                  <c:v>0.06197731421570096</c:v>
                </c:pt>
                <c:pt idx="905">
                  <c:v>0.05749801503474683</c:v>
                </c:pt>
                <c:pt idx="906">
                  <c:v>0.061579192348215184</c:v>
                </c:pt>
                <c:pt idx="907">
                  <c:v>0.07183164785474894</c:v>
                </c:pt>
                <c:pt idx="908">
                  <c:v>0.07183164785474894</c:v>
                </c:pt>
                <c:pt idx="909">
                  <c:v>0.07183164785474894</c:v>
                </c:pt>
                <c:pt idx="910">
                  <c:v>0.07023900468599154</c:v>
                </c:pt>
                <c:pt idx="911">
                  <c:v>0.061579192348215184</c:v>
                </c:pt>
                <c:pt idx="912">
                  <c:v>0.06984088281850576</c:v>
                </c:pt>
                <c:pt idx="913">
                  <c:v>0.08098915145158614</c:v>
                </c:pt>
                <c:pt idx="914">
                  <c:v>0.07571368638506737</c:v>
                </c:pt>
                <c:pt idx="915">
                  <c:v>0.07571368638506737</c:v>
                </c:pt>
                <c:pt idx="916">
                  <c:v>0.07571368638506737</c:v>
                </c:pt>
                <c:pt idx="917">
                  <c:v>0.07352378256567427</c:v>
                </c:pt>
                <c:pt idx="918">
                  <c:v>0.08437357657225086</c:v>
                </c:pt>
                <c:pt idx="919">
                  <c:v>0.08297999433723646</c:v>
                </c:pt>
                <c:pt idx="920">
                  <c:v>0.07869975609002533</c:v>
                </c:pt>
                <c:pt idx="921">
                  <c:v>0.07322515224035664</c:v>
                </c:pt>
                <c:pt idx="922">
                  <c:v>0.07322515224035664</c:v>
                </c:pt>
                <c:pt idx="923">
                  <c:v>0.07322515224035664</c:v>
                </c:pt>
                <c:pt idx="924">
                  <c:v>0.0776048820297357</c:v>
                </c:pt>
                <c:pt idx="925">
                  <c:v>0.08138735116847906</c:v>
                </c:pt>
                <c:pt idx="926">
                  <c:v>0.09233655886781644</c:v>
                </c:pt>
                <c:pt idx="927">
                  <c:v>0.09472552362095255</c:v>
                </c:pt>
                <c:pt idx="928">
                  <c:v>0.09213749793407366</c:v>
                </c:pt>
                <c:pt idx="929">
                  <c:v>0.09213749793407366</c:v>
                </c:pt>
                <c:pt idx="930">
                  <c:v>0.09213749793407366</c:v>
                </c:pt>
                <c:pt idx="931">
                  <c:v>0.08994767196408748</c:v>
                </c:pt>
                <c:pt idx="932">
                  <c:v>0.08845459818690515</c:v>
                </c:pt>
                <c:pt idx="933">
                  <c:v>0.0964177361812848</c:v>
                </c:pt>
                <c:pt idx="934">
                  <c:v>0.09621851954872773</c:v>
                </c:pt>
                <c:pt idx="935">
                  <c:v>0.09621851954872773</c:v>
                </c:pt>
                <c:pt idx="936">
                  <c:v>0.09621851954872773</c:v>
                </c:pt>
                <c:pt idx="937">
                  <c:v>0.09621851954872773</c:v>
                </c:pt>
                <c:pt idx="938">
                  <c:v>0.09363057171125577</c:v>
                </c:pt>
                <c:pt idx="939">
                  <c:v>0.08716058534346538</c:v>
                </c:pt>
                <c:pt idx="940">
                  <c:v>0.08974861103034426</c:v>
                </c:pt>
                <c:pt idx="941">
                  <c:v>0.07879932548159974</c:v>
                </c:pt>
                <c:pt idx="942">
                  <c:v>0.08726015473504023</c:v>
                </c:pt>
                <c:pt idx="943">
                  <c:v>0.08726015473504023</c:v>
                </c:pt>
                <c:pt idx="944">
                  <c:v>0.08726015473504023</c:v>
                </c:pt>
                <c:pt idx="945">
                  <c:v>0.08954947224719434</c:v>
                </c:pt>
                <c:pt idx="946">
                  <c:v>0.09114211541595174</c:v>
                </c:pt>
                <c:pt idx="947">
                  <c:v>0.07869975609002489</c:v>
                </c:pt>
                <c:pt idx="948">
                  <c:v>0.08507025091564735</c:v>
                </c:pt>
                <c:pt idx="949">
                  <c:v>0.06834773119191606</c:v>
                </c:pt>
                <c:pt idx="950">
                  <c:v>0.06834773119191606</c:v>
                </c:pt>
                <c:pt idx="951">
                  <c:v>0.06834773119191606</c:v>
                </c:pt>
                <c:pt idx="952">
                  <c:v>0.05799578414321438</c:v>
                </c:pt>
                <c:pt idx="953">
                  <c:v>0.05242161090197062</c:v>
                </c:pt>
                <c:pt idx="954">
                  <c:v>0.048539572371652184</c:v>
                </c:pt>
                <c:pt idx="955">
                  <c:v>0.047046576443876775</c:v>
                </c:pt>
                <c:pt idx="956">
                  <c:v>0.04057651222667946</c:v>
                </c:pt>
                <c:pt idx="957">
                  <c:v>0.04057651222667946</c:v>
                </c:pt>
                <c:pt idx="958">
                  <c:v>0.04057651222667946</c:v>
                </c:pt>
                <c:pt idx="959">
                  <c:v>0.051127598058531065</c:v>
                </c:pt>
                <c:pt idx="960">
                  <c:v>0.06287320519165407</c:v>
                </c:pt>
                <c:pt idx="961">
                  <c:v>0.06227602239042529</c:v>
                </c:pt>
                <c:pt idx="962">
                  <c:v>0.05899116666133564</c:v>
                </c:pt>
                <c:pt idx="963">
                  <c:v>0.06884542245097669</c:v>
                </c:pt>
                <c:pt idx="964">
                  <c:v>0.06884542245097669</c:v>
                </c:pt>
                <c:pt idx="965">
                  <c:v>0.06884542245097669</c:v>
                </c:pt>
                <c:pt idx="966">
                  <c:v>0.07352378256567382</c:v>
                </c:pt>
                <c:pt idx="967">
                  <c:v>0.05729903195041053</c:v>
                </c:pt>
                <c:pt idx="968">
                  <c:v>0.05451194532978865</c:v>
                </c:pt>
                <c:pt idx="969">
                  <c:v>0.06765105684851935</c:v>
                </c:pt>
                <c:pt idx="970">
                  <c:v>0.07929701674066059</c:v>
                </c:pt>
                <c:pt idx="971">
                  <c:v>0.07929701674066059</c:v>
                </c:pt>
                <c:pt idx="972">
                  <c:v>0.07929701674066059</c:v>
                </c:pt>
                <c:pt idx="973">
                  <c:v>0.08905178098813371</c:v>
                </c:pt>
                <c:pt idx="974">
                  <c:v>0.08935048916285848</c:v>
                </c:pt>
                <c:pt idx="975">
                  <c:v>0.08875315066281564</c:v>
                </c:pt>
                <c:pt idx="976">
                  <c:v>0.09532270642218088</c:v>
                </c:pt>
                <c:pt idx="977">
                  <c:v>0.09671628865719528</c:v>
                </c:pt>
                <c:pt idx="978">
                  <c:v>0.09671628865719528</c:v>
                </c:pt>
                <c:pt idx="979">
                  <c:v>0.09671628865719528</c:v>
                </c:pt>
                <c:pt idx="980">
                  <c:v>0.09741311869940605</c:v>
                </c:pt>
                <c:pt idx="981">
                  <c:v>0.10348490535030352</c:v>
                </c:pt>
                <c:pt idx="982">
                  <c:v>0.11612624776056624</c:v>
                </c:pt>
                <c:pt idx="983">
                  <c:v>0.11383693024841213</c:v>
                </c:pt>
                <c:pt idx="984">
                  <c:v>0.11642503378469815</c:v>
                </c:pt>
                <c:pt idx="985">
                  <c:v>0.11642503378469815</c:v>
                </c:pt>
                <c:pt idx="986">
                  <c:v>0.11642503378469815</c:v>
                </c:pt>
                <c:pt idx="987">
                  <c:v>0.11712170812809486</c:v>
                </c:pt>
                <c:pt idx="988">
                  <c:v>0.11732076906183786</c:v>
                </c:pt>
                <c:pt idx="989">
                  <c:v>0.11204522614591195</c:v>
                </c:pt>
                <c:pt idx="990">
                  <c:v>0.10467942665157492</c:v>
                </c:pt>
                <c:pt idx="991">
                  <c:v>0.11184608736276203</c:v>
                </c:pt>
                <c:pt idx="992">
                  <c:v>0.11184608736276203</c:v>
                </c:pt>
                <c:pt idx="993">
                  <c:v>0.11184608736276203</c:v>
                </c:pt>
                <c:pt idx="994">
                  <c:v>0.11184608736276203</c:v>
                </c:pt>
                <c:pt idx="995">
                  <c:v>0.11214479553748702</c:v>
                </c:pt>
                <c:pt idx="996">
                  <c:v>0.10089687966342464</c:v>
                </c:pt>
                <c:pt idx="997">
                  <c:v>0.09810979304280276</c:v>
                </c:pt>
                <c:pt idx="998">
                  <c:v>0.1056747313202897</c:v>
                </c:pt>
                <c:pt idx="999">
                  <c:v>0.1056747313202897</c:v>
                </c:pt>
                <c:pt idx="1000">
                  <c:v>0.1056747313202897</c:v>
                </c:pt>
                <c:pt idx="1001">
                  <c:v>0.10786463513968281</c:v>
                </c:pt>
                <c:pt idx="1002">
                  <c:v>0.10637156136250048</c:v>
                </c:pt>
                <c:pt idx="1003">
                  <c:v>0.11911247316433826</c:v>
                </c:pt>
                <c:pt idx="1004">
                  <c:v>0.12020742507403481</c:v>
                </c:pt>
                <c:pt idx="1005">
                  <c:v>0.11463332968219819</c:v>
                </c:pt>
                <c:pt idx="1006">
                  <c:v>0.11463332968219819</c:v>
                </c:pt>
                <c:pt idx="1007">
                  <c:v>0.11463332968219819</c:v>
                </c:pt>
                <c:pt idx="1008">
                  <c:v>0.11791802971247378</c:v>
                </c:pt>
                <c:pt idx="1009">
                  <c:v>0.11565961841490568</c:v>
                </c:pt>
                <c:pt idx="1010">
                  <c:v>0.12639964475758814</c:v>
                </c:pt>
                <c:pt idx="1011">
                  <c:v>0.12288653456712417</c:v>
                </c:pt>
                <c:pt idx="1012">
                  <c:v>0.12077868402272718</c:v>
                </c:pt>
                <c:pt idx="1013">
                  <c:v>0.12077868402272718</c:v>
                </c:pt>
                <c:pt idx="1014">
                  <c:v>0.12077868402272718</c:v>
                </c:pt>
                <c:pt idx="1015">
                  <c:v>0.12790525228930028</c:v>
                </c:pt>
                <c:pt idx="1016">
                  <c:v>0.132522500619489</c:v>
                </c:pt>
                <c:pt idx="1017">
                  <c:v>0.132522500619489</c:v>
                </c:pt>
                <c:pt idx="1018">
                  <c:v>0.1302137986049876</c:v>
                </c:pt>
                <c:pt idx="1019">
                  <c:v>0.1256970538592581</c:v>
                </c:pt>
                <c:pt idx="1020">
                  <c:v>0.1256970538592581</c:v>
                </c:pt>
                <c:pt idx="1021">
                  <c:v>0.1256970538592581</c:v>
                </c:pt>
                <c:pt idx="1022">
                  <c:v>0.12670068841452342</c:v>
                </c:pt>
                <c:pt idx="1023">
                  <c:v>0.13011345071934244</c:v>
                </c:pt>
                <c:pt idx="1024">
                  <c:v>0.12880853895892042</c:v>
                </c:pt>
                <c:pt idx="1025">
                  <c:v>0.1304146500750918</c:v>
                </c:pt>
                <c:pt idx="1026">
                  <c:v>0.12820637379564248</c:v>
                </c:pt>
                <c:pt idx="1027">
                  <c:v>0.12820637379564248</c:v>
                </c:pt>
                <c:pt idx="1028">
                  <c:v>0.12820637379564248</c:v>
                </c:pt>
                <c:pt idx="1029">
                  <c:v>0.13011345071934222</c:v>
                </c:pt>
                <c:pt idx="1030">
                  <c:v>0.136135880846191</c:v>
                </c:pt>
                <c:pt idx="1031">
                  <c:v>0.14436666510189577</c:v>
                </c:pt>
                <c:pt idx="1032">
                  <c:v>0.14436666510189577</c:v>
                </c:pt>
                <c:pt idx="1033">
                  <c:v>0.15089099035578402</c:v>
                </c:pt>
                <c:pt idx="1034">
                  <c:v>0.15089099035578402</c:v>
                </c:pt>
                <c:pt idx="1035">
                  <c:v>0.15089099035578402</c:v>
                </c:pt>
                <c:pt idx="1036">
                  <c:v>0.15089099035578402</c:v>
                </c:pt>
                <c:pt idx="1037">
                  <c:v>0.15058971315062752</c:v>
                </c:pt>
                <c:pt idx="1038">
                  <c:v>0.16233360759679627</c:v>
                </c:pt>
                <c:pt idx="1039">
                  <c:v>0.1578167071522527</c:v>
                </c:pt>
                <c:pt idx="1040">
                  <c:v>0.16624818717924783</c:v>
                </c:pt>
                <c:pt idx="1041">
                  <c:v>0.16624818717924783</c:v>
                </c:pt>
                <c:pt idx="1042">
                  <c:v>0.16624818717924783</c:v>
                </c:pt>
                <c:pt idx="1043">
                  <c:v>0.16504362330447098</c:v>
                </c:pt>
                <c:pt idx="1044">
                  <c:v>0.17126690490142393</c:v>
                </c:pt>
                <c:pt idx="1045">
                  <c:v>0.15651187324123783</c:v>
                </c:pt>
                <c:pt idx="1046">
                  <c:v>0.14667521141758288</c:v>
                </c:pt>
                <c:pt idx="1047">
                  <c:v>0.13914717375902197</c:v>
                </c:pt>
                <c:pt idx="1048">
                  <c:v>0.13914717375902197</c:v>
                </c:pt>
                <c:pt idx="1049">
                  <c:v>0.13914717375902197</c:v>
                </c:pt>
                <c:pt idx="1050">
                  <c:v>0.1508909903557838</c:v>
                </c:pt>
                <c:pt idx="1051">
                  <c:v>0.1469763329239251</c:v>
                </c:pt>
                <c:pt idx="1052">
                  <c:v>0.12439206424942872</c:v>
                </c:pt>
                <c:pt idx="1053">
                  <c:v>0.1186707556289226</c:v>
                </c:pt>
                <c:pt idx="1054">
                  <c:v>0.13192017975739656</c:v>
                </c:pt>
                <c:pt idx="1055">
                  <c:v>0.13192017975739656</c:v>
                </c:pt>
                <c:pt idx="1056">
                  <c:v>0.13192017975739656</c:v>
                </c:pt>
                <c:pt idx="1057">
                  <c:v>0.13091638950331697</c:v>
                </c:pt>
                <c:pt idx="1058">
                  <c:v>0.12710231350532464</c:v>
                </c:pt>
                <c:pt idx="1059">
                  <c:v>0.1455710732778579</c:v>
                </c:pt>
                <c:pt idx="1060">
                  <c:v>0.12519515873221776</c:v>
                </c:pt>
                <c:pt idx="1061">
                  <c:v>0.10542133150044841</c:v>
                </c:pt>
                <c:pt idx="1062">
                  <c:v>0.10542133150044841</c:v>
                </c:pt>
                <c:pt idx="1063">
                  <c:v>0.10542133150044841</c:v>
                </c:pt>
                <c:pt idx="1064">
                  <c:v>0.07641324115652282</c:v>
                </c:pt>
                <c:pt idx="1065">
                  <c:v>0.08374058304379339</c:v>
                </c:pt>
                <c:pt idx="1066">
                  <c:v>0.08173308038504157</c:v>
                </c:pt>
                <c:pt idx="1067">
                  <c:v>0.10451804483082827</c:v>
                </c:pt>
                <c:pt idx="1068">
                  <c:v>0.10943633681795228</c:v>
                </c:pt>
                <c:pt idx="1069">
                  <c:v>0.10943633681795228</c:v>
                </c:pt>
                <c:pt idx="1070">
                  <c:v>0.10943633681795228</c:v>
                </c:pt>
                <c:pt idx="1071">
                  <c:v>0.1102393534513344</c:v>
                </c:pt>
                <c:pt idx="1072">
                  <c:v>0.12730300927661475</c:v>
                </c:pt>
                <c:pt idx="1073">
                  <c:v>0.13031422434003903</c:v>
                </c:pt>
                <c:pt idx="1074">
                  <c:v>0.14828116683493975</c:v>
                </c:pt>
                <c:pt idx="1075">
                  <c:v>0.15229617215244362</c:v>
                </c:pt>
                <c:pt idx="1076">
                  <c:v>0.15229617215244362</c:v>
                </c:pt>
                <c:pt idx="1077">
                  <c:v>0.15229617215244362</c:v>
                </c:pt>
                <c:pt idx="1078">
                  <c:v>0.16383921512850796</c:v>
                </c:pt>
                <c:pt idx="1079">
                  <c:v>0.16092842580013578</c:v>
                </c:pt>
                <c:pt idx="1080">
                  <c:v>0.1669507780775774</c:v>
                </c:pt>
                <c:pt idx="1081">
                  <c:v>0.15771628141720018</c:v>
                </c:pt>
                <c:pt idx="1082">
                  <c:v>0.1733747554458207</c:v>
                </c:pt>
                <c:pt idx="1083">
                  <c:v>0.1733747554458207</c:v>
                </c:pt>
                <c:pt idx="1084">
                  <c:v>0.1733747554458207</c:v>
                </c:pt>
                <c:pt idx="1085">
                  <c:v>0.16905862862197463</c:v>
                </c:pt>
                <c:pt idx="1086">
                  <c:v>0.1713672527870691</c:v>
                </c:pt>
                <c:pt idx="1087">
                  <c:v>0.1649432754188258</c:v>
                </c:pt>
                <c:pt idx="1088">
                  <c:v>0.16594714352231232</c:v>
                </c:pt>
                <c:pt idx="1089">
                  <c:v>0.17417777207920304</c:v>
                </c:pt>
                <c:pt idx="1090">
                  <c:v>0.17417777207920304</c:v>
                </c:pt>
                <c:pt idx="1091">
                  <c:v>0.17417777207920304</c:v>
                </c:pt>
                <c:pt idx="1092">
                  <c:v>0.17417777207920304</c:v>
                </c:pt>
                <c:pt idx="1093">
                  <c:v>0.151693929139759</c:v>
                </c:pt>
                <c:pt idx="1094">
                  <c:v>0.14818081894929502</c:v>
                </c:pt>
                <c:pt idx="1095">
                  <c:v>0.14677563715263497</c:v>
                </c:pt>
                <c:pt idx="1096">
                  <c:v>0.1273030092766152</c:v>
                </c:pt>
                <c:pt idx="1097">
                  <c:v>0.1273030092766152</c:v>
                </c:pt>
                <c:pt idx="1098">
                  <c:v>0.1273030092766152</c:v>
                </c:pt>
                <c:pt idx="1099">
                  <c:v>0.13894647798773185</c:v>
                </c:pt>
                <c:pt idx="1100">
                  <c:v>0.14055235555568202</c:v>
                </c:pt>
                <c:pt idx="1101">
                  <c:v>0.1505897131506273</c:v>
                </c:pt>
                <c:pt idx="1102">
                  <c:v>0.16062722644438665</c:v>
                </c:pt>
                <c:pt idx="1103">
                  <c:v>0.1664489607999451</c:v>
                </c:pt>
                <c:pt idx="1104">
                  <c:v>0.1664489607999451</c:v>
                </c:pt>
                <c:pt idx="1105">
                  <c:v>0.1664489607999451</c:v>
                </c:pt>
                <c:pt idx="1106">
                  <c:v>0.17046396611744896</c:v>
                </c:pt>
                <c:pt idx="1107">
                  <c:v>0.1692594022426721</c:v>
                </c:pt>
                <c:pt idx="1108">
                  <c:v>0.16594714352231232</c:v>
                </c:pt>
                <c:pt idx="1109">
                  <c:v>0.18672460530934698</c:v>
                </c:pt>
                <c:pt idx="1110">
                  <c:v>0.1820070090935133</c:v>
                </c:pt>
                <c:pt idx="1111">
                  <c:v>0.1820070090935133</c:v>
                </c:pt>
                <c:pt idx="1112">
                  <c:v>0.1820070090935133</c:v>
                </c:pt>
                <c:pt idx="1113">
                  <c:v>0.1865237538392428</c:v>
                </c:pt>
                <c:pt idx="1114">
                  <c:v>0.19465403451048835</c:v>
                </c:pt>
                <c:pt idx="1115">
                  <c:v>0.18963539463771917</c:v>
                </c:pt>
                <c:pt idx="1116">
                  <c:v>0.202884740916786</c:v>
                </c:pt>
                <c:pt idx="1117">
                  <c:v>0.20007429947405897</c:v>
                </c:pt>
                <c:pt idx="1118">
                  <c:v>0.20007429947405897</c:v>
                </c:pt>
                <c:pt idx="1119">
                  <c:v>0.20007429947405897</c:v>
                </c:pt>
                <c:pt idx="1120">
                  <c:v>0.1999739515884138</c:v>
                </c:pt>
                <c:pt idx="1121">
                  <c:v>0.19234548819480102</c:v>
                </c:pt>
                <c:pt idx="1122">
                  <c:v>0.19515592963752804</c:v>
                </c:pt>
                <c:pt idx="1123">
                  <c:v>0.18923392524573157</c:v>
                </c:pt>
                <c:pt idx="1124">
                  <c:v>0.199271360690084</c:v>
                </c:pt>
                <c:pt idx="1125">
                  <c:v>0.199271360690084</c:v>
                </c:pt>
                <c:pt idx="1126">
                  <c:v>0.199271360690084</c:v>
                </c:pt>
                <c:pt idx="1127">
                  <c:v>0.1917433230315233</c:v>
                </c:pt>
                <c:pt idx="1128">
                  <c:v>0.19485488598059275</c:v>
                </c:pt>
                <c:pt idx="1129">
                  <c:v>0.19977317796771676</c:v>
                </c:pt>
                <c:pt idx="1130">
                  <c:v>0.19856876979175397</c:v>
                </c:pt>
                <c:pt idx="1131">
                  <c:v>0.20609680745031467</c:v>
                </c:pt>
                <c:pt idx="1132">
                  <c:v>0.20609680745031467</c:v>
                </c:pt>
                <c:pt idx="1133">
                  <c:v>0.20609680745031467</c:v>
                </c:pt>
                <c:pt idx="1134">
                  <c:v>0.21231993334845356</c:v>
                </c:pt>
                <c:pt idx="1135">
                  <c:v>0.19967275223266445</c:v>
                </c:pt>
                <c:pt idx="1136">
                  <c:v>0.20449077418355022</c:v>
                </c:pt>
                <c:pt idx="1137">
                  <c:v>0.20398887905651053</c:v>
                </c:pt>
                <c:pt idx="1138">
                  <c:v>0.21101509943743846</c:v>
                </c:pt>
                <c:pt idx="1139">
                  <c:v>0.21101509943743846</c:v>
                </c:pt>
                <c:pt idx="1140">
                  <c:v>0.21101509943743846</c:v>
                </c:pt>
                <c:pt idx="1141">
                  <c:v>0.20519336508188024</c:v>
                </c:pt>
                <c:pt idx="1142">
                  <c:v>0.20258361941044356</c:v>
                </c:pt>
                <c:pt idx="1143">
                  <c:v>0.19194401880281342</c:v>
                </c:pt>
                <c:pt idx="1144">
                  <c:v>0.19475446024554044</c:v>
                </c:pt>
                <c:pt idx="1145">
                  <c:v>0.19264660970114345</c:v>
                </c:pt>
                <c:pt idx="1146">
                  <c:v>0.19264660970114345</c:v>
                </c:pt>
                <c:pt idx="1147">
                  <c:v>0.19264660970114345</c:v>
                </c:pt>
                <c:pt idx="1148">
                  <c:v>0.1988698912980964</c:v>
                </c:pt>
                <c:pt idx="1149">
                  <c:v>0.19816722255035946</c:v>
                </c:pt>
                <c:pt idx="1150">
                  <c:v>0.19284730547243378</c:v>
                </c:pt>
                <c:pt idx="1151">
                  <c:v>0.17488044082694</c:v>
                </c:pt>
                <c:pt idx="1152">
                  <c:v>0.17939718557266926</c:v>
                </c:pt>
                <c:pt idx="1153">
                  <c:v>0.17939718557266926</c:v>
                </c:pt>
                <c:pt idx="1154">
                  <c:v>0.17939718557266926</c:v>
                </c:pt>
                <c:pt idx="1155">
                  <c:v>0.17919648980137914</c:v>
                </c:pt>
                <c:pt idx="1156">
                  <c:v>0.19294773120748587</c:v>
                </c:pt>
                <c:pt idx="1157">
                  <c:v>0.2072008677406323</c:v>
                </c:pt>
                <c:pt idx="1158">
                  <c:v>0.22075141337544868</c:v>
                </c:pt>
                <c:pt idx="1159">
                  <c:v>0.21753942469132714</c:v>
                </c:pt>
                <c:pt idx="1160">
                  <c:v>0.21753942469132714</c:v>
                </c:pt>
                <c:pt idx="1161">
                  <c:v>0.21753942469132714</c:v>
                </c:pt>
                <c:pt idx="1162">
                  <c:v>0.21904503222303928</c:v>
                </c:pt>
                <c:pt idx="1163">
                  <c:v>0.21001138703276645</c:v>
                </c:pt>
                <c:pt idx="1164">
                  <c:v>0.20760233713261989</c:v>
                </c:pt>
                <c:pt idx="1165">
                  <c:v>0.20198145424716585</c:v>
                </c:pt>
                <c:pt idx="1166">
                  <c:v>0.19083988066308888</c:v>
                </c:pt>
                <c:pt idx="1167">
                  <c:v>0.19083988066308888</c:v>
                </c:pt>
                <c:pt idx="1168">
                  <c:v>0.19083988066308888</c:v>
                </c:pt>
                <c:pt idx="1169">
                  <c:v>0.19676204075369919</c:v>
                </c:pt>
                <c:pt idx="1170">
                  <c:v>0.20007429947405875</c:v>
                </c:pt>
                <c:pt idx="1171">
                  <c:v>0.20007429947405875</c:v>
                </c:pt>
                <c:pt idx="1172">
                  <c:v>0.2045911999186023</c:v>
                </c:pt>
                <c:pt idx="1173">
                  <c:v>0.20890724889304146</c:v>
                </c:pt>
                <c:pt idx="1174">
                  <c:v>0.20890724889304146</c:v>
                </c:pt>
                <c:pt idx="1175">
                  <c:v>0.20890724889304146</c:v>
                </c:pt>
                <c:pt idx="1176">
                  <c:v>0.21312302783124237</c:v>
                </c:pt>
                <c:pt idx="1177">
                  <c:v>0.21492967901989002</c:v>
                </c:pt>
                <c:pt idx="1178">
                  <c:v>0.21402631450086274</c:v>
                </c:pt>
                <c:pt idx="1179">
                  <c:v>0.21402631450086274</c:v>
                </c:pt>
                <c:pt idx="1180">
                  <c:v>0.22225694305775345</c:v>
                </c:pt>
                <c:pt idx="1181">
                  <c:v>0.22225694305775345</c:v>
                </c:pt>
                <c:pt idx="1182">
                  <c:v>0.22225694305775345</c:v>
                </c:pt>
                <c:pt idx="1183">
                  <c:v>0.22486676657859728</c:v>
                </c:pt>
                <c:pt idx="1184">
                  <c:v>0.22707496500863944</c:v>
                </c:pt>
                <c:pt idx="1185">
                  <c:v>0.2335992902625279</c:v>
                </c:pt>
                <c:pt idx="1186">
                  <c:v>0.23430188116085793</c:v>
                </c:pt>
                <c:pt idx="1187">
                  <c:v>0.235807566541977</c:v>
                </c:pt>
                <c:pt idx="1188">
                  <c:v>0.235807566541977</c:v>
                </c:pt>
                <c:pt idx="1189">
                  <c:v>0.235807566541977</c:v>
                </c:pt>
                <c:pt idx="1190">
                  <c:v>0.23289669936419788</c:v>
                </c:pt>
                <c:pt idx="1191">
                  <c:v>0.22556935747692752</c:v>
                </c:pt>
                <c:pt idx="1192">
                  <c:v>0.23430188116085815</c:v>
                </c:pt>
                <c:pt idx="1193">
                  <c:v>0.2265730698816002</c:v>
                </c:pt>
                <c:pt idx="1194">
                  <c:v>0.22516788808494015</c:v>
                </c:pt>
                <c:pt idx="1195">
                  <c:v>0.22516788808494015</c:v>
                </c:pt>
                <c:pt idx="1196">
                  <c:v>0.22516788808494015</c:v>
                </c:pt>
                <c:pt idx="1197">
                  <c:v>0.22767720802132474</c:v>
                </c:pt>
                <c:pt idx="1198">
                  <c:v>0.2229789184584312</c:v>
                </c:pt>
                <c:pt idx="1199">
                  <c:v>0.1866277606470177</c:v>
                </c:pt>
                <c:pt idx="1200">
                  <c:v>0.1867289648761401</c:v>
                </c:pt>
                <c:pt idx="1201">
                  <c:v>0.1960446584680362</c:v>
                </c:pt>
                <c:pt idx="1202">
                  <c:v>0.1960446584680362</c:v>
                </c:pt>
                <c:pt idx="1203">
                  <c:v>0.1960446584680362</c:v>
                </c:pt>
                <c:pt idx="1204">
                  <c:v>0.20343638181490986</c:v>
                </c:pt>
                <c:pt idx="1205">
                  <c:v>0.2135620206374127</c:v>
                </c:pt>
                <c:pt idx="1206">
                  <c:v>0.2135620206374127</c:v>
                </c:pt>
                <c:pt idx="1207">
                  <c:v>0.21457460787448523</c:v>
                </c:pt>
                <c:pt idx="1208">
                  <c:v>0.20536027421052538</c:v>
                </c:pt>
                <c:pt idx="1209">
                  <c:v>0.20536027421052538</c:v>
                </c:pt>
                <c:pt idx="1210">
                  <c:v>0.20536027421052538</c:v>
                </c:pt>
                <c:pt idx="1211">
                  <c:v>0.19300689675681904</c:v>
                </c:pt>
                <c:pt idx="1212">
                  <c:v>0.18976672658735727</c:v>
                </c:pt>
                <c:pt idx="1213">
                  <c:v>0.18976672658735727</c:v>
                </c:pt>
                <c:pt idx="1214">
                  <c:v>0.18743778372703157</c:v>
                </c:pt>
                <c:pt idx="1215">
                  <c:v>0.199791083331331</c:v>
                </c:pt>
                <c:pt idx="1216">
                  <c:v>0.199791083331331</c:v>
                </c:pt>
                <c:pt idx="1217">
                  <c:v>0.199791083331331</c:v>
                </c:pt>
                <c:pt idx="1218">
                  <c:v>0.20809418968615456</c:v>
                </c:pt>
                <c:pt idx="1219">
                  <c:v>0.1964497089327466</c:v>
                </c:pt>
                <c:pt idx="1220">
                  <c:v>0.196550913161869</c:v>
                </c:pt>
                <c:pt idx="1221">
                  <c:v>0.196550913161869</c:v>
                </c:pt>
                <c:pt idx="1222">
                  <c:v>0.17832473214160105</c:v>
                </c:pt>
                <c:pt idx="1223">
                  <c:v>0.17832473214160105</c:v>
                </c:pt>
                <c:pt idx="1224">
                  <c:v>0.17832473214160105</c:v>
                </c:pt>
                <c:pt idx="1225">
                  <c:v>0.1781221679845424</c:v>
                </c:pt>
                <c:pt idx="1226">
                  <c:v>0.18146362023253348</c:v>
                </c:pt>
                <c:pt idx="1227">
                  <c:v>0.20070246633928068</c:v>
                </c:pt>
                <c:pt idx="1228">
                  <c:v>0.20080367056840287</c:v>
                </c:pt>
                <c:pt idx="1229">
                  <c:v>0.21103059146943481</c:v>
                </c:pt>
                <c:pt idx="1230">
                  <c:v>0.21103059146943481</c:v>
                </c:pt>
                <c:pt idx="1231">
                  <c:v>0.21103059146943481</c:v>
                </c:pt>
                <c:pt idx="1232">
                  <c:v>0.21103059146943481</c:v>
                </c:pt>
                <c:pt idx="1233">
                  <c:v>0.22480152877551696</c:v>
                </c:pt>
                <c:pt idx="1234">
                  <c:v>0.2292568503391097</c:v>
                </c:pt>
                <c:pt idx="1235">
                  <c:v>0.23604103691362144</c:v>
                </c:pt>
                <c:pt idx="1236">
                  <c:v>0.2359397548350921</c:v>
                </c:pt>
                <c:pt idx="1237">
                  <c:v>0.2359397548350921</c:v>
                </c:pt>
                <c:pt idx="1238">
                  <c:v>0.2359397548350921</c:v>
                </c:pt>
                <c:pt idx="1239">
                  <c:v>0.2211563081413448</c:v>
                </c:pt>
                <c:pt idx="1240">
                  <c:v>0.2292568503391097</c:v>
                </c:pt>
                <c:pt idx="1241">
                  <c:v>0.22561162970493753</c:v>
                </c:pt>
                <c:pt idx="1242">
                  <c:v>0.2350284496765489</c:v>
                </c:pt>
                <c:pt idx="1243">
                  <c:v>0.22713047163584243</c:v>
                </c:pt>
                <c:pt idx="1244">
                  <c:v>0.22713047163584243</c:v>
                </c:pt>
                <c:pt idx="1245">
                  <c:v>0.22713047163584243</c:v>
                </c:pt>
                <c:pt idx="1246">
                  <c:v>0.2172072412715842</c:v>
                </c:pt>
                <c:pt idx="1247">
                  <c:v>0.22824426310203716</c:v>
                </c:pt>
                <c:pt idx="1248">
                  <c:v>0.23421842659653525</c:v>
                </c:pt>
                <c:pt idx="1249">
                  <c:v>0.23847118400306933</c:v>
                </c:pt>
                <c:pt idx="1250">
                  <c:v>0.22854803148821823</c:v>
                </c:pt>
                <c:pt idx="1251">
                  <c:v>0.22854803148821823</c:v>
                </c:pt>
                <c:pt idx="1252">
                  <c:v>0.22854803148821823</c:v>
                </c:pt>
                <c:pt idx="1253">
                  <c:v>0.23847118400306933</c:v>
                </c:pt>
                <c:pt idx="1254">
                  <c:v>0.23867374816012799</c:v>
                </c:pt>
                <c:pt idx="1255">
                  <c:v>0.23755987884452612</c:v>
                </c:pt>
                <c:pt idx="1256">
                  <c:v>0.25193835292296995</c:v>
                </c:pt>
                <c:pt idx="1257">
                  <c:v>0.2517358666153182</c:v>
                </c:pt>
                <c:pt idx="1258">
                  <c:v>0.2517358666153182</c:v>
                </c:pt>
                <c:pt idx="1259">
                  <c:v>0.2517358666153182</c:v>
                </c:pt>
                <c:pt idx="1260">
                  <c:v>0.2517358666153182</c:v>
                </c:pt>
                <c:pt idx="1261">
                  <c:v>0.2568999291803955</c:v>
                </c:pt>
                <c:pt idx="1262">
                  <c:v>0.2553810872494904</c:v>
                </c:pt>
                <c:pt idx="1263">
                  <c:v>0.2536596811615266</c:v>
                </c:pt>
                <c:pt idx="1264">
                  <c:v>0.2366485736859827</c:v>
                </c:pt>
                <c:pt idx="1265">
                  <c:v>0.2366485736859827</c:v>
                </c:pt>
                <c:pt idx="1266">
                  <c:v>0.2366485736859827</c:v>
                </c:pt>
                <c:pt idx="1267">
                  <c:v>0.23006695126852983</c:v>
                </c:pt>
                <c:pt idx="1268">
                  <c:v>0.2281430588729143</c:v>
                </c:pt>
                <c:pt idx="1269">
                  <c:v>0.23047184603442594</c:v>
                </c:pt>
                <c:pt idx="1270">
                  <c:v>0.2117394103203254</c:v>
                </c:pt>
                <c:pt idx="1271">
                  <c:v>0.2234852510016696</c:v>
                </c:pt>
                <c:pt idx="1272">
                  <c:v>0.2234852510016696</c:v>
                </c:pt>
                <c:pt idx="1273">
                  <c:v>0.2234852510016696</c:v>
                </c:pt>
                <c:pt idx="1274">
                  <c:v>0.21052433677560134</c:v>
                </c:pt>
                <c:pt idx="1275">
                  <c:v>0.20171497572694497</c:v>
                </c:pt>
                <c:pt idx="1276">
                  <c:v>0.2207512576766335</c:v>
                </c:pt>
                <c:pt idx="1277">
                  <c:v>0.20191746203459648</c:v>
                </c:pt>
                <c:pt idx="1278">
                  <c:v>0.21001808208176853</c:v>
                </c:pt>
                <c:pt idx="1279">
                  <c:v>0.21001808208176853</c:v>
                </c:pt>
                <c:pt idx="1280">
                  <c:v>0.21001808208176853</c:v>
                </c:pt>
                <c:pt idx="1281">
                  <c:v>0.17872978260631012</c:v>
                </c:pt>
                <c:pt idx="1282">
                  <c:v>0.1725530549547536</c:v>
                </c:pt>
                <c:pt idx="1283">
                  <c:v>0.17953972783691707</c:v>
                </c:pt>
                <c:pt idx="1284">
                  <c:v>0.16607263676642314</c:v>
                </c:pt>
                <c:pt idx="1285">
                  <c:v>0.18926039404411665</c:v>
                </c:pt>
                <c:pt idx="1286">
                  <c:v>0.18926039404411665</c:v>
                </c:pt>
                <c:pt idx="1287">
                  <c:v>0.18926039404411665</c:v>
                </c:pt>
                <c:pt idx="1288">
                  <c:v>0.20110751680399042</c:v>
                </c:pt>
                <c:pt idx="1289">
                  <c:v>0.19250064206298556</c:v>
                </c:pt>
                <c:pt idx="1290">
                  <c:v>0.20222130827018492</c:v>
                </c:pt>
                <c:pt idx="1291">
                  <c:v>0.19715844993423004</c:v>
                </c:pt>
                <c:pt idx="1292">
                  <c:v>0.19462709861565952</c:v>
                </c:pt>
                <c:pt idx="1293">
                  <c:v>0.19462709861565952</c:v>
                </c:pt>
                <c:pt idx="1294">
                  <c:v>0.19462709861565952</c:v>
                </c:pt>
                <c:pt idx="1295">
                  <c:v>0.21214446078503602</c:v>
                </c:pt>
                <c:pt idx="1296">
                  <c:v>0.212751919707991</c:v>
                </c:pt>
                <c:pt idx="1297">
                  <c:v>0.1993860328666195</c:v>
                </c:pt>
                <c:pt idx="1298">
                  <c:v>0.19766470462806285</c:v>
                </c:pt>
                <c:pt idx="1299">
                  <c:v>0.17700829866893986</c:v>
                </c:pt>
                <c:pt idx="1300">
                  <c:v>0.17700829866893986</c:v>
                </c:pt>
                <c:pt idx="1301">
                  <c:v>0.17700829866893986</c:v>
                </c:pt>
                <c:pt idx="1302">
                  <c:v>0.1785272184492519</c:v>
                </c:pt>
                <c:pt idx="1303">
                  <c:v>0.18267877162666357</c:v>
                </c:pt>
                <c:pt idx="1304">
                  <c:v>0.18875413935028384</c:v>
                </c:pt>
                <c:pt idx="1305">
                  <c:v>0.14328992995344003</c:v>
                </c:pt>
                <c:pt idx="1306">
                  <c:v>0.07332145195683526</c:v>
                </c:pt>
                <c:pt idx="1307">
                  <c:v>0.07332145195683526</c:v>
                </c:pt>
                <c:pt idx="1308">
                  <c:v>0.07332145195683526</c:v>
                </c:pt>
                <c:pt idx="1309">
                  <c:v>0.06289204474815135</c:v>
                </c:pt>
                <c:pt idx="1310">
                  <c:v>0.048918543285010774</c:v>
                </c:pt>
                <c:pt idx="1311">
                  <c:v>0.14116347340076607</c:v>
                </c:pt>
                <c:pt idx="1312">
                  <c:v>0.10622987544172835</c:v>
                </c:pt>
                <c:pt idx="1313">
                  <c:v>0.12496238900523582</c:v>
                </c:pt>
                <c:pt idx="1314">
                  <c:v>0.12496238900523582</c:v>
                </c:pt>
                <c:pt idx="1315">
                  <c:v>0.12496238900523582</c:v>
                </c:pt>
                <c:pt idx="1316">
                  <c:v>0.14065721870693304</c:v>
                </c:pt>
                <c:pt idx="1317">
                  <c:v>0.1413659597084176</c:v>
                </c:pt>
                <c:pt idx="1318">
                  <c:v>0.12324106076667918</c:v>
                </c:pt>
                <c:pt idx="1319">
                  <c:v>0.12800007286704607</c:v>
                </c:pt>
                <c:pt idx="1320">
                  <c:v>0.12800007286704607</c:v>
                </c:pt>
                <c:pt idx="1321">
                  <c:v>0.12800007286704607</c:v>
                </c:pt>
                <c:pt idx="1322">
                  <c:v>0.12800007286704607</c:v>
                </c:pt>
                <c:pt idx="1323">
                  <c:v>0.10977389184677833</c:v>
                </c:pt>
                <c:pt idx="1324">
                  <c:v>0.1347842594415578</c:v>
                </c:pt>
                <c:pt idx="1325">
                  <c:v>0.14865647882616928</c:v>
                </c:pt>
                <c:pt idx="1326">
                  <c:v>0.16961665317147312</c:v>
                </c:pt>
                <c:pt idx="1327">
                  <c:v>0.17640083974598464</c:v>
                </c:pt>
                <c:pt idx="1328">
                  <c:v>0.17640083974598464</c:v>
                </c:pt>
                <c:pt idx="1329">
                  <c:v>0.17640083974598464</c:v>
                </c:pt>
                <c:pt idx="1330">
                  <c:v>0.17862850052778123</c:v>
                </c:pt>
                <c:pt idx="1331">
                  <c:v>0.18460258617287217</c:v>
                </c:pt>
                <c:pt idx="1332">
                  <c:v>0.18460258617287217</c:v>
                </c:pt>
                <c:pt idx="1333">
                  <c:v>0.1889566256579358</c:v>
                </c:pt>
                <c:pt idx="1334">
                  <c:v>0.209106776923226</c:v>
                </c:pt>
                <c:pt idx="1335">
                  <c:v>0.209106776923226</c:v>
                </c:pt>
                <c:pt idx="1336">
                  <c:v>0.209106776923226</c:v>
                </c:pt>
                <c:pt idx="1337">
                  <c:v>0.20667655198437096</c:v>
                </c:pt>
                <c:pt idx="1338">
                  <c:v>0.1996898791022077</c:v>
                </c:pt>
                <c:pt idx="1339">
                  <c:v>0.20070246633928002</c:v>
                </c:pt>
                <c:pt idx="1340">
                  <c:v>0.20465145535963325</c:v>
                </c:pt>
                <c:pt idx="1341">
                  <c:v>0.20627150151966078</c:v>
                </c:pt>
                <c:pt idx="1342">
                  <c:v>0.20627150151966078</c:v>
                </c:pt>
                <c:pt idx="1343">
                  <c:v>0.20627150151966078</c:v>
                </c:pt>
                <c:pt idx="1344">
                  <c:v>0.23563598644891104</c:v>
                </c:pt>
                <c:pt idx="1345">
                  <c:v>0.24221768671577104</c:v>
                </c:pt>
                <c:pt idx="1346">
                  <c:v>0.2433315560313727</c:v>
                </c:pt>
                <c:pt idx="1347">
                  <c:v>0.2500144605273551</c:v>
                </c:pt>
                <c:pt idx="1348">
                  <c:v>0.25598862402185296</c:v>
                </c:pt>
                <c:pt idx="1349">
                  <c:v>0.25598862402185296</c:v>
                </c:pt>
                <c:pt idx="1350">
                  <c:v>0.25598862402185296</c:v>
                </c:pt>
                <c:pt idx="1351">
                  <c:v>0.259937613042206</c:v>
                </c:pt>
                <c:pt idx="1352">
                  <c:v>0.2585200531898302</c:v>
                </c:pt>
                <c:pt idx="1353">
                  <c:v>0.24292650556666207</c:v>
                </c:pt>
                <c:pt idx="1354">
                  <c:v>0.24221768671577082</c:v>
                </c:pt>
                <c:pt idx="1355">
                  <c:v>0.23836997977394692</c:v>
                </c:pt>
                <c:pt idx="1356">
                  <c:v>0.23836997977394692</c:v>
                </c:pt>
                <c:pt idx="1357">
                  <c:v>0.23836997977394692</c:v>
                </c:pt>
                <c:pt idx="1358">
                  <c:v>0.23836997977394692</c:v>
                </c:pt>
                <c:pt idx="1359">
                  <c:v>0.2591275899621921</c:v>
                </c:pt>
                <c:pt idx="1360">
                  <c:v>0.250115742605884</c:v>
                </c:pt>
                <c:pt idx="1361">
                  <c:v>0.2546723462480063</c:v>
                </c:pt>
                <c:pt idx="1362">
                  <c:v>0.2520396350014995</c:v>
                </c:pt>
                <c:pt idx="1363">
                  <c:v>0.2520396350014995</c:v>
                </c:pt>
                <c:pt idx="1364">
                  <c:v>0.2520396350014995</c:v>
                </c:pt>
                <c:pt idx="1365">
                  <c:v>0.2613552507439887</c:v>
                </c:pt>
                <c:pt idx="1366">
                  <c:v>0.26419037044874005</c:v>
                </c:pt>
                <c:pt idx="1367">
                  <c:v>0.26743061846760896</c:v>
                </c:pt>
                <c:pt idx="1368">
                  <c:v>0.2636841936043146</c:v>
                </c:pt>
                <c:pt idx="1369">
                  <c:v>0.27340478196210705</c:v>
                </c:pt>
                <c:pt idx="1370">
                  <c:v>0.27340478196210705</c:v>
                </c:pt>
                <c:pt idx="1371">
                  <c:v>0.27340478196210705</c:v>
                </c:pt>
                <c:pt idx="1372">
                  <c:v>0.27502482812213436</c:v>
                </c:pt>
                <c:pt idx="1373">
                  <c:v>0.2811002736951618</c:v>
                </c:pt>
                <c:pt idx="1374">
                  <c:v>0.27937894545660513</c:v>
                </c:pt>
                <c:pt idx="1375">
                  <c:v>0.2844417259431531</c:v>
                </c:pt>
                <c:pt idx="1376">
                  <c:v>0.2696582792494058</c:v>
                </c:pt>
                <c:pt idx="1377">
                  <c:v>0.2696582792494058</c:v>
                </c:pt>
                <c:pt idx="1378">
                  <c:v>0.2696582792494058</c:v>
                </c:pt>
                <c:pt idx="1379">
                  <c:v>0.28079066660345453</c:v>
                </c:pt>
                <c:pt idx="1380">
                  <c:v>0.26783177646196865</c:v>
                </c:pt>
                <c:pt idx="1381">
                  <c:v>0.26823994090295966</c:v>
                </c:pt>
                <c:pt idx="1382">
                  <c:v>0.26823994090295966</c:v>
                </c:pt>
                <c:pt idx="1383">
                  <c:v>0.26262777715109165</c:v>
                </c:pt>
                <c:pt idx="1384">
                  <c:v>0.26262777715109165</c:v>
                </c:pt>
                <c:pt idx="1385">
                  <c:v>0.26262777715109165</c:v>
                </c:pt>
                <c:pt idx="1386">
                  <c:v>0.2739540873780204</c:v>
                </c:pt>
                <c:pt idx="1387">
                  <c:v>0.29079050078421775</c:v>
                </c:pt>
                <c:pt idx="1388">
                  <c:v>0.2898721891790432</c:v>
                </c:pt>
                <c:pt idx="1389">
                  <c:v>0.3006882743923813</c:v>
                </c:pt>
                <c:pt idx="1390">
                  <c:v>0.3065044035906346</c:v>
                </c:pt>
                <c:pt idx="1391">
                  <c:v>0.3065044035906346</c:v>
                </c:pt>
                <c:pt idx="1392">
                  <c:v>0.3065044035906346</c:v>
                </c:pt>
                <c:pt idx="1393">
                  <c:v>0.3122187057645094</c:v>
                </c:pt>
                <c:pt idx="1394">
                  <c:v>0.31150435960571965</c:v>
                </c:pt>
                <c:pt idx="1395">
                  <c:v>0.3168104194891961</c:v>
                </c:pt>
                <c:pt idx="1396">
                  <c:v>0.3243611891746059</c:v>
                </c:pt>
                <c:pt idx="1397">
                  <c:v>0.3243611891746059</c:v>
                </c:pt>
                <c:pt idx="1398">
                  <c:v>0.3243611891746059</c:v>
                </c:pt>
                <c:pt idx="1399">
                  <c:v>0.3243611891746059</c:v>
                </c:pt>
                <c:pt idx="1400">
                  <c:v>0.3128309135012921</c:v>
                </c:pt>
                <c:pt idx="1401">
                  <c:v>0.31507577900203954</c:v>
                </c:pt>
                <c:pt idx="1402">
                  <c:v>0.32221846209586524</c:v>
                </c:pt>
                <c:pt idx="1403">
                  <c:v>0.3249735526102031</c:v>
                </c:pt>
                <c:pt idx="1404">
                  <c:v>0.318340938831154</c:v>
                </c:pt>
                <c:pt idx="1405">
                  <c:v>0.318340938831154</c:v>
                </c:pt>
                <c:pt idx="1406">
                  <c:v>0.318340938831154</c:v>
                </c:pt>
                <c:pt idx="1407">
                  <c:v>0.3201777177403171</c:v>
                </c:pt>
                <c:pt idx="1408">
                  <c:v>0.3146675367116416</c:v>
                </c:pt>
                <c:pt idx="1409">
                  <c:v>0.3197694754499192</c:v>
                </c:pt>
                <c:pt idx="1410">
                  <c:v>0.3250755353333956</c:v>
                </c:pt>
                <c:pt idx="1411">
                  <c:v>0.3240550853062145</c:v>
                </c:pt>
                <c:pt idx="1412">
                  <c:v>0.3240550853062145</c:v>
                </c:pt>
                <c:pt idx="1413">
                  <c:v>0.3240550853062145</c:v>
                </c:pt>
                <c:pt idx="1414">
                  <c:v>0.3278306258477335</c:v>
                </c:pt>
                <c:pt idx="1415">
                  <c:v>0.3300754913484807</c:v>
                </c:pt>
                <c:pt idx="1416">
                  <c:v>0.34589137687809</c:v>
                </c:pt>
                <c:pt idx="1417">
                  <c:v>0.3431364420625662</c:v>
                </c:pt>
                <c:pt idx="1418">
                  <c:v>0.345687411431705</c:v>
                </c:pt>
                <c:pt idx="1419">
                  <c:v>0.345687411431705</c:v>
                </c:pt>
                <c:pt idx="1420">
                  <c:v>0.345687411431705</c:v>
                </c:pt>
                <c:pt idx="1421">
                  <c:v>0.33966700538943884</c:v>
                </c:pt>
                <c:pt idx="1422">
                  <c:v>0.3372181744423066</c:v>
                </c:pt>
                <c:pt idx="1423">
                  <c:v>0.3327284434408122</c:v>
                </c:pt>
                <c:pt idx="1424">
                  <c:v>0.32609598536057693</c:v>
                </c:pt>
                <c:pt idx="1425">
                  <c:v>0.309361632526979</c:v>
                </c:pt>
                <c:pt idx="1426">
                  <c:v>0.309361632526979</c:v>
                </c:pt>
                <c:pt idx="1427">
                  <c:v>0.309361632526979</c:v>
                </c:pt>
                <c:pt idx="1428">
                  <c:v>0.32823871243931735</c:v>
                </c:pt>
                <c:pt idx="1429">
                  <c:v>0.32456531031980496</c:v>
                </c:pt>
                <c:pt idx="1430">
                  <c:v>0.33446308392796853</c:v>
                </c:pt>
                <c:pt idx="1431">
                  <c:v>0.33762626103389026</c:v>
                </c:pt>
                <c:pt idx="1432">
                  <c:v>0.3454832902865055</c:v>
                </c:pt>
                <c:pt idx="1433">
                  <c:v>0.3454832902865055</c:v>
                </c:pt>
                <c:pt idx="1434">
                  <c:v>0.3454832902865055</c:v>
                </c:pt>
                <c:pt idx="1435">
                  <c:v>0.3419118708901856</c:v>
                </c:pt>
                <c:pt idx="1436">
                  <c:v>0.35660547936823517</c:v>
                </c:pt>
                <c:pt idx="1437">
                  <c:v>0.36282985085688635</c:v>
                </c:pt>
                <c:pt idx="1438">
                  <c:v>0.3606871237781457</c:v>
                </c:pt>
                <c:pt idx="1439">
                  <c:v>0.3609932276465373</c:v>
                </c:pt>
                <c:pt idx="1440">
                  <c:v>0.3609932276465373</c:v>
                </c:pt>
                <c:pt idx="1441">
                  <c:v>0.3609932276465373</c:v>
                </c:pt>
                <c:pt idx="1442">
                  <c:v>0.3612993315149289</c:v>
                </c:pt>
                <c:pt idx="1443">
                  <c:v>0.3540545099990966</c:v>
                </c:pt>
                <c:pt idx="1444">
                  <c:v>0.3525239906571389</c:v>
                </c:pt>
                <c:pt idx="1445">
                  <c:v>0.347319913496855</c:v>
                </c:pt>
                <c:pt idx="1446">
                  <c:v>0.3695644473591284</c:v>
                </c:pt>
                <c:pt idx="1447">
                  <c:v>0.3695644473591284</c:v>
                </c:pt>
                <c:pt idx="1448">
                  <c:v>0.3695644473591284</c:v>
                </c:pt>
                <c:pt idx="1449">
                  <c:v>0.36068712377814593</c:v>
                </c:pt>
                <c:pt idx="1450">
                  <c:v>0.3635441970156761</c:v>
                </c:pt>
                <c:pt idx="1451">
                  <c:v>0.36405426633045246</c:v>
                </c:pt>
                <c:pt idx="1452">
                  <c:v>0.36956444735912797</c:v>
                </c:pt>
                <c:pt idx="1453">
                  <c:v>0.36160543538332024</c:v>
                </c:pt>
                <c:pt idx="1454">
                  <c:v>0.36160543538332024</c:v>
                </c:pt>
                <c:pt idx="1455">
                  <c:v>0.36160543538332024</c:v>
                </c:pt>
                <c:pt idx="1456">
                  <c:v>0.36160543538332024</c:v>
                </c:pt>
                <c:pt idx="1457">
                  <c:v>0.35201376564354825</c:v>
                </c:pt>
                <c:pt idx="1458">
                  <c:v>0.35772791211860877</c:v>
                </c:pt>
                <c:pt idx="1459">
                  <c:v>0.3668093568447901</c:v>
                </c:pt>
                <c:pt idx="1460">
                  <c:v>0.3680339280171703</c:v>
                </c:pt>
                <c:pt idx="1461">
                  <c:v>0.3680339280171703</c:v>
                </c:pt>
                <c:pt idx="1462">
                  <c:v>0.3680339280171703</c:v>
                </c:pt>
                <c:pt idx="1463">
                  <c:v>0.37466638609740555</c:v>
                </c:pt>
                <c:pt idx="1464">
                  <c:v>0.3767071304529537</c:v>
                </c:pt>
                <c:pt idx="1465">
                  <c:v>0.3797683248356831</c:v>
                </c:pt>
                <c:pt idx="1466">
                  <c:v>0.3933395005633591</c:v>
                </c:pt>
                <c:pt idx="1467">
                  <c:v>0.39129875620781096</c:v>
                </c:pt>
                <c:pt idx="1468">
                  <c:v>0.39129875620781096</c:v>
                </c:pt>
                <c:pt idx="1469">
                  <c:v>0.39129875620781096</c:v>
                </c:pt>
                <c:pt idx="1470">
                  <c:v>0.4003802009339923</c:v>
                </c:pt>
                <c:pt idx="1471">
                  <c:v>0.3989516643152271</c:v>
                </c:pt>
                <c:pt idx="1472">
                  <c:v>0.3976251104196544</c:v>
                </c:pt>
                <c:pt idx="1473">
                  <c:v>0.4034412396179077</c:v>
                </c:pt>
                <c:pt idx="1474">
                  <c:v>0.4056861051186549</c:v>
                </c:pt>
                <c:pt idx="1475">
                  <c:v>0.4056861051186549</c:v>
                </c:pt>
                <c:pt idx="1476">
                  <c:v>0.4056861051186549</c:v>
                </c:pt>
                <c:pt idx="1477">
                  <c:v>0.412318718897704</c:v>
                </c:pt>
                <c:pt idx="1478">
                  <c:v>0.40701265901422756</c:v>
                </c:pt>
                <c:pt idx="1479">
                  <c:v>0.40099240867077546</c:v>
                </c:pt>
                <c:pt idx="1480">
                  <c:v>0.39405369102333476</c:v>
                </c:pt>
                <c:pt idx="1481">
                  <c:v>0.40140049526235955</c:v>
                </c:pt>
                <c:pt idx="1482">
                  <c:v>0.40140049526235955</c:v>
                </c:pt>
                <c:pt idx="1483">
                  <c:v>0.40140049526235955</c:v>
                </c:pt>
                <c:pt idx="1484">
                  <c:v>0.40486977623667286</c:v>
                </c:pt>
                <c:pt idx="1485">
                  <c:v>0.41058407841054767</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39201961553737</c:v>
                </c:pt>
                <c:pt idx="2">
                  <c:v>-0.005559269730191163</c:v>
                </c:pt>
                <c:pt idx="3">
                  <c:v>-0.004830329074744233</c:v>
                </c:pt>
                <c:pt idx="4">
                  <c:v>-0.009688861207955646</c:v>
                </c:pt>
                <c:pt idx="5">
                  <c:v>-0.009688861207955646</c:v>
                </c:pt>
                <c:pt idx="6">
                  <c:v>-0.009688861207955646</c:v>
                </c:pt>
                <c:pt idx="7">
                  <c:v>-0.0036726257779683413</c:v>
                </c:pt>
                <c:pt idx="8">
                  <c:v>-0.007073494518882173</c:v>
                </c:pt>
                <c:pt idx="9">
                  <c:v>0.002134311471174488</c:v>
                </c:pt>
                <c:pt idx="10">
                  <c:v>0.0005101269391929453</c:v>
                </c:pt>
                <c:pt idx="11">
                  <c:v>-0.008279054541206032</c:v>
                </c:pt>
                <c:pt idx="12">
                  <c:v>-0.008279054541206032</c:v>
                </c:pt>
                <c:pt idx="13">
                  <c:v>-0.008279054541206032</c:v>
                </c:pt>
                <c:pt idx="14">
                  <c:v>-0.024395599100794918</c:v>
                </c:pt>
                <c:pt idx="15">
                  <c:v>-0.019537350604932002</c:v>
                </c:pt>
                <c:pt idx="16">
                  <c:v>-0.009189134191853743</c:v>
                </c:pt>
                <c:pt idx="17">
                  <c:v>0.004879951650155867</c:v>
                </c:pt>
                <c:pt idx="18">
                  <c:v>0.0052073317944894</c:v>
                </c:pt>
                <c:pt idx="19">
                  <c:v>0.0052073317944894</c:v>
                </c:pt>
                <c:pt idx="20">
                  <c:v>0.0052073317944894</c:v>
                </c:pt>
                <c:pt idx="21">
                  <c:v>0.006821692910774946</c:v>
                </c:pt>
                <c:pt idx="22">
                  <c:v>-0.008290701835613867</c:v>
                </c:pt>
                <c:pt idx="23">
                  <c:v>-0.008938681544186089</c:v>
                </c:pt>
                <c:pt idx="24">
                  <c:v>-0.013521641216627134</c:v>
                </c:pt>
                <c:pt idx="25">
                  <c:v>-0.005088459010794466</c:v>
                </c:pt>
                <c:pt idx="26">
                  <c:v>-0.005088459010794466</c:v>
                </c:pt>
                <c:pt idx="27">
                  <c:v>-0.005088459010794466</c:v>
                </c:pt>
                <c:pt idx="28">
                  <c:v>-0.016951698795047765</c:v>
                </c:pt>
                <c:pt idx="29">
                  <c:v>-0.0008543032226466796</c:v>
                </c:pt>
                <c:pt idx="30">
                  <c:v>0.007082373769677464</c:v>
                </c:pt>
                <c:pt idx="31">
                  <c:v>0.018904580196453136</c:v>
                </c:pt>
                <c:pt idx="32">
                  <c:v>0.020368503652881786</c:v>
                </c:pt>
                <c:pt idx="33">
                  <c:v>0.020368503652881786</c:v>
                </c:pt>
                <c:pt idx="34">
                  <c:v>0.020368503652881786</c:v>
                </c:pt>
                <c:pt idx="35">
                  <c:v>0.018206981087713014</c:v>
                </c:pt>
                <c:pt idx="36">
                  <c:v>0.013980094102710394</c:v>
                </c:pt>
                <c:pt idx="37">
                  <c:v>0.01606116334030272</c:v>
                </c:pt>
                <c:pt idx="38">
                  <c:v>0.023259960179736083</c:v>
                </c:pt>
                <c:pt idx="39">
                  <c:v>0.032849859733998565</c:v>
                </c:pt>
                <c:pt idx="40">
                  <c:v>0.032849859733998565</c:v>
                </c:pt>
                <c:pt idx="41">
                  <c:v>0.032849859733998565</c:v>
                </c:pt>
                <c:pt idx="42">
                  <c:v>0.05133593809220138</c:v>
                </c:pt>
                <c:pt idx="43">
                  <c:v>0.04516562285640524</c:v>
                </c:pt>
                <c:pt idx="44">
                  <c:v>0.05334132535944747</c:v>
                </c:pt>
                <c:pt idx="45">
                  <c:v>0.05714916208403209</c:v>
                </c:pt>
                <c:pt idx="46">
                  <c:v>0.05659145389733422</c:v>
                </c:pt>
                <c:pt idx="47">
                  <c:v>0.05659145389733422</c:v>
                </c:pt>
                <c:pt idx="48">
                  <c:v>0.05659145389733422</c:v>
                </c:pt>
                <c:pt idx="49">
                  <c:v>0.06108765730733423</c:v>
                </c:pt>
                <c:pt idx="50">
                  <c:v>0.06220137764447098</c:v>
                </c:pt>
                <c:pt idx="51">
                  <c:v>0.05906112186030055</c:v>
                </c:pt>
                <c:pt idx="52">
                  <c:v>0.07280285474105974</c:v>
                </c:pt>
                <c:pt idx="53">
                  <c:v>0.07149637919974561</c:v>
                </c:pt>
                <c:pt idx="54">
                  <c:v>0.07149637919974561</c:v>
                </c:pt>
                <c:pt idx="55">
                  <c:v>0.07149637919974561</c:v>
                </c:pt>
                <c:pt idx="56">
                  <c:v>0.07820165114946565</c:v>
                </c:pt>
                <c:pt idx="57">
                  <c:v>0.08078382677310003</c:v>
                </c:pt>
                <c:pt idx="58">
                  <c:v>0.08876972395315108</c:v>
                </c:pt>
                <c:pt idx="59">
                  <c:v>0.0916979125644819</c:v>
                </c:pt>
                <c:pt idx="60">
                  <c:v>0.09690621033468627</c:v>
                </c:pt>
                <c:pt idx="61">
                  <c:v>0.09690621033468627</c:v>
                </c:pt>
                <c:pt idx="62">
                  <c:v>0.09690621033468627</c:v>
                </c:pt>
                <c:pt idx="63">
                  <c:v>0.10320439805321624</c:v>
                </c:pt>
                <c:pt idx="64">
                  <c:v>0.09991610403029894</c:v>
                </c:pt>
                <c:pt idx="65">
                  <c:v>0.09167027928336169</c:v>
                </c:pt>
                <c:pt idx="66">
                  <c:v>0.09599619825174543</c:v>
                </c:pt>
                <c:pt idx="67">
                  <c:v>0.10290221558614854</c:v>
                </c:pt>
                <c:pt idx="68">
                  <c:v>0.10290221558614854</c:v>
                </c:pt>
                <c:pt idx="69">
                  <c:v>0.10290221558614854</c:v>
                </c:pt>
                <c:pt idx="70">
                  <c:v>0.10371764001833905</c:v>
                </c:pt>
                <c:pt idx="71">
                  <c:v>0.10686483764227073</c:v>
                </c:pt>
                <c:pt idx="72">
                  <c:v>0.10677581276510661</c:v>
                </c:pt>
                <c:pt idx="73">
                  <c:v>0.1104689932023053</c:v>
                </c:pt>
                <c:pt idx="74">
                  <c:v>0.10748014892681335</c:v>
                </c:pt>
                <c:pt idx="75">
                  <c:v>0.10748014892681335</c:v>
                </c:pt>
                <c:pt idx="76">
                  <c:v>0.10748014892681335</c:v>
                </c:pt>
                <c:pt idx="77">
                  <c:v>0.10078967959926999</c:v>
                </c:pt>
                <c:pt idx="78">
                  <c:v>0.09975254590528482</c:v>
                </c:pt>
                <c:pt idx="79">
                  <c:v>0.10279495517591841</c:v>
                </c:pt>
                <c:pt idx="80">
                  <c:v>0.10707906863132322</c:v>
                </c:pt>
                <c:pt idx="81">
                  <c:v>0.08177178309309219</c:v>
                </c:pt>
                <c:pt idx="82">
                  <c:v>0.08177178309309219</c:v>
                </c:pt>
                <c:pt idx="83">
                  <c:v>0.08177178309309219</c:v>
                </c:pt>
                <c:pt idx="84">
                  <c:v>0.09370958042441191</c:v>
                </c:pt>
                <c:pt idx="85">
                  <c:v>0.07947932448968742</c:v>
                </c:pt>
                <c:pt idx="86">
                  <c:v>0.06925499839181959</c:v>
                </c:pt>
                <c:pt idx="87">
                  <c:v>0.08490652767934748</c:v>
                </c:pt>
                <c:pt idx="88">
                  <c:v>0.0764204610096959</c:v>
                </c:pt>
                <c:pt idx="89">
                  <c:v>0.0764204610096959</c:v>
                </c:pt>
                <c:pt idx="90">
                  <c:v>0.0764204610096959</c:v>
                </c:pt>
                <c:pt idx="91">
                  <c:v>0.08684379734606229</c:v>
                </c:pt>
                <c:pt idx="92">
                  <c:v>0.09768935977889281</c:v>
                </c:pt>
                <c:pt idx="93">
                  <c:v>0.09023147152818067</c:v>
                </c:pt>
                <c:pt idx="94">
                  <c:v>0.07275062376052266</c:v>
                </c:pt>
                <c:pt idx="95">
                  <c:v>7.84756999030467e-05</c:v>
                </c:pt>
                <c:pt idx="96">
                  <c:v>7.84756999030467e-05</c:v>
                </c:pt>
                <c:pt idx="97">
                  <c:v>7.84756999030467e-05</c:v>
                </c:pt>
                <c:pt idx="98">
                  <c:v>-0.01273554051668413</c:v>
                </c:pt>
                <c:pt idx="99">
                  <c:v>-0.0077622962191356</c:v>
                </c:pt>
                <c:pt idx="100">
                  <c:v>0.011177053441993934</c:v>
                </c:pt>
                <c:pt idx="101">
                  <c:v>0.010537374988595527</c:v>
                </c:pt>
                <c:pt idx="102">
                  <c:v>0.0030783367239268777</c:v>
                </c:pt>
                <c:pt idx="103">
                  <c:v>0.0030783367239268777</c:v>
                </c:pt>
                <c:pt idx="104">
                  <c:v>0.0030783367239268777</c:v>
                </c:pt>
                <c:pt idx="105">
                  <c:v>0.0035942600986393902</c:v>
                </c:pt>
                <c:pt idx="106">
                  <c:v>0.015028899362508508</c:v>
                </c:pt>
                <c:pt idx="107">
                  <c:v>0.024431320259910683</c:v>
                </c:pt>
                <c:pt idx="108">
                  <c:v>0.034921858841808096</c:v>
                </c:pt>
                <c:pt idx="109">
                  <c:v>0.03639394710370869</c:v>
                </c:pt>
                <c:pt idx="110">
                  <c:v>0.03639394710370869</c:v>
                </c:pt>
                <c:pt idx="111">
                  <c:v>0.03639394710370869</c:v>
                </c:pt>
                <c:pt idx="112">
                  <c:v>0.045638158517190774</c:v>
                </c:pt>
                <c:pt idx="113">
                  <c:v>0.04859218970642454</c:v>
                </c:pt>
                <c:pt idx="114">
                  <c:v>0.050090824160621494</c:v>
                </c:pt>
                <c:pt idx="115">
                  <c:v>0.05091904030449723</c:v>
                </c:pt>
                <c:pt idx="116">
                  <c:v>0.05029093607726631</c:v>
                </c:pt>
                <c:pt idx="117">
                  <c:v>0.05029093607726631</c:v>
                </c:pt>
                <c:pt idx="118">
                  <c:v>0.05029093607726631</c:v>
                </c:pt>
                <c:pt idx="119">
                  <c:v>0.05600296078686018</c:v>
                </c:pt>
                <c:pt idx="120">
                  <c:v>0.05580062552705334</c:v>
                </c:pt>
                <c:pt idx="121">
                  <c:v>0.04135617826961502</c:v>
                </c:pt>
                <c:pt idx="122">
                  <c:v>0.04241333126265889</c:v>
                </c:pt>
                <c:pt idx="123">
                  <c:v>0.04256323945026241</c:v>
                </c:pt>
                <c:pt idx="124">
                  <c:v>0.04256323945026241</c:v>
                </c:pt>
                <c:pt idx="125">
                  <c:v>0.04256323945026241</c:v>
                </c:pt>
                <c:pt idx="126">
                  <c:v>0.03933831530952836</c:v>
                </c:pt>
                <c:pt idx="127">
                  <c:v>0.060419961505387754</c:v>
                </c:pt>
                <c:pt idx="128">
                  <c:v>0.06666478575940005</c:v>
                </c:pt>
                <c:pt idx="129">
                  <c:v>0.05638157295751767</c:v>
                </c:pt>
                <c:pt idx="130">
                  <c:v>0.0667152373906097</c:v>
                </c:pt>
                <c:pt idx="131">
                  <c:v>0.0667152373906097</c:v>
                </c:pt>
                <c:pt idx="132">
                  <c:v>0.0667152373906097</c:v>
                </c:pt>
                <c:pt idx="133">
                  <c:v>0.06598335374281872</c:v>
                </c:pt>
                <c:pt idx="134">
                  <c:v>0.05476274902294809</c:v>
                </c:pt>
                <c:pt idx="135">
                  <c:v>0.04927650429934727</c:v>
                </c:pt>
                <c:pt idx="136">
                  <c:v>0.04397810757348708</c:v>
                </c:pt>
                <c:pt idx="137">
                  <c:v>0.03378072493248374</c:v>
                </c:pt>
                <c:pt idx="138">
                  <c:v>0.03378072493248374</c:v>
                </c:pt>
                <c:pt idx="139">
                  <c:v>0.03378072493248374</c:v>
                </c:pt>
                <c:pt idx="140">
                  <c:v>0.035139015898494774</c:v>
                </c:pt>
                <c:pt idx="141">
                  <c:v>0.028798687193682726</c:v>
                </c:pt>
                <c:pt idx="142">
                  <c:v>0.029483270367902215</c:v>
                </c:pt>
                <c:pt idx="143">
                  <c:v>0.026952087345881504</c:v>
                </c:pt>
                <c:pt idx="144">
                  <c:v>0.053499300408681894</c:v>
                </c:pt>
                <c:pt idx="145">
                  <c:v>0.053499300408681894</c:v>
                </c:pt>
                <c:pt idx="146">
                  <c:v>0.053499300408681894</c:v>
                </c:pt>
                <c:pt idx="147">
                  <c:v>0.08322512978604757</c:v>
                </c:pt>
                <c:pt idx="148">
                  <c:v>0.09794085531954444</c:v>
                </c:pt>
                <c:pt idx="149">
                  <c:v>0.10492212984738702</c:v>
                </c:pt>
                <c:pt idx="150">
                  <c:v>0.08816617971544138</c:v>
                </c:pt>
                <c:pt idx="151">
                  <c:v>0.09946914693590148</c:v>
                </c:pt>
                <c:pt idx="152">
                  <c:v>0.09946914693590148</c:v>
                </c:pt>
                <c:pt idx="153">
                  <c:v>0.09946914693590148</c:v>
                </c:pt>
                <c:pt idx="154">
                  <c:v>0.10235689014419025</c:v>
                </c:pt>
                <c:pt idx="155">
                  <c:v>0.11335940863327854</c:v>
                </c:pt>
                <c:pt idx="156">
                  <c:v>0.13821365436087607</c:v>
                </c:pt>
                <c:pt idx="157">
                  <c:v>0.12176217398772149</c:v>
                </c:pt>
                <c:pt idx="158">
                  <c:v>0.10989806522248968</c:v>
                </c:pt>
                <c:pt idx="159">
                  <c:v>0.10989806522248968</c:v>
                </c:pt>
                <c:pt idx="160">
                  <c:v>0.10989806522248968</c:v>
                </c:pt>
                <c:pt idx="161">
                  <c:v>0.11473456890634681</c:v>
                </c:pt>
                <c:pt idx="162">
                  <c:v>0.13140011757254833</c:v>
                </c:pt>
                <c:pt idx="163">
                  <c:v>0.10128562745596392</c:v>
                </c:pt>
                <c:pt idx="164">
                  <c:v>0.06109895763590911</c:v>
                </c:pt>
                <c:pt idx="165">
                  <c:v>0.027329295392431563</c:v>
                </c:pt>
                <c:pt idx="166">
                  <c:v>0.027329295392431563</c:v>
                </c:pt>
                <c:pt idx="167">
                  <c:v>0.027329295392431563</c:v>
                </c:pt>
                <c:pt idx="168">
                  <c:v>0.02355905169895145</c:v>
                </c:pt>
                <c:pt idx="169">
                  <c:v>0.017427585370660248</c:v>
                </c:pt>
                <c:pt idx="170">
                  <c:v>0.009194969981292322</c:v>
                </c:pt>
                <c:pt idx="171">
                  <c:v>0.014342009364960884</c:v>
                </c:pt>
                <c:pt idx="172">
                  <c:v>0.04038763663960232</c:v>
                </c:pt>
                <c:pt idx="173">
                  <c:v>0.04038763663960232</c:v>
                </c:pt>
                <c:pt idx="174">
                  <c:v>0.04038763663960232</c:v>
                </c:pt>
                <c:pt idx="175">
                  <c:v>0.02643571707657566</c:v>
                </c:pt>
                <c:pt idx="176">
                  <c:v>0.0180783043552617</c:v>
                </c:pt>
                <c:pt idx="177">
                  <c:v>0.0354364852215292</c:v>
                </c:pt>
                <c:pt idx="178">
                  <c:v>0.026683626602584942</c:v>
                </c:pt>
                <c:pt idx="179">
                  <c:v>0.02021096360554875</c:v>
                </c:pt>
                <c:pt idx="180">
                  <c:v>0.02021096360554875</c:v>
                </c:pt>
                <c:pt idx="181">
                  <c:v>0.02021096360554875</c:v>
                </c:pt>
                <c:pt idx="182">
                  <c:v>-0.006721395448644918</c:v>
                </c:pt>
                <c:pt idx="183">
                  <c:v>-0.009021605293796142</c:v>
                </c:pt>
                <c:pt idx="184">
                  <c:v>0.02017197406272464</c:v>
                </c:pt>
                <c:pt idx="185">
                  <c:v>0.01733041140158109</c:v>
                </c:pt>
                <c:pt idx="186">
                  <c:v>0.006863369277108067</c:v>
                </c:pt>
                <c:pt idx="187">
                  <c:v>0.006863369277108067</c:v>
                </c:pt>
                <c:pt idx="188">
                  <c:v>0.006863369277108067</c:v>
                </c:pt>
                <c:pt idx="189">
                  <c:v>0.0016792585441200991</c:v>
                </c:pt>
                <c:pt idx="190">
                  <c:v>0.018589326522975957</c:v>
                </c:pt>
                <c:pt idx="191">
                  <c:v>0.02250480253209286</c:v>
                </c:pt>
                <c:pt idx="192">
                  <c:v>0.03475663772605442</c:v>
                </c:pt>
                <c:pt idx="193">
                  <c:v>0.04722252637909996</c:v>
                </c:pt>
                <c:pt idx="194">
                  <c:v>0.04722252637909996</c:v>
                </c:pt>
                <c:pt idx="195">
                  <c:v>0.04722252637909996</c:v>
                </c:pt>
                <c:pt idx="196">
                  <c:v>0.04068541775082912</c:v>
                </c:pt>
                <c:pt idx="197">
                  <c:v>0.052582627937638016</c:v>
                </c:pt>
                <c:pt idx="198">
                  <c:v>0.03654366205850179</c:v>
                </c:pt>
                <c:pt idx="199">
                  <c:v>0.056880423651298306</c:v>
                </c:pt>
                <c:pt idx="200">
                  <c:v>0.06147552585573424</c:v>
                </c:pt>
                <c:pt idx="201">
                  <c:v>0.06147552585573424</c:v>
                </c:pt>
                <c:pt idx="202">
                  <c:v>0.06147552585573424</c:v>
                </c:pt>
                <c:pt idx="203">
                  <c:v>0.06956907277359847</c:v>
                </c:pt>
                <c:pt idx="204">
                  <c:v>0.08778166206356097</c:v>
                </c:pt>
                <c:pt idx="205">
                  <c:v>0.08737968483254299</c:v>
                </c:pt>
                <c:pt idx="206">
                  <c:v>0.06898625063945185</c:v>
                </c:pt>
                <c:pt idx="207">
                  <c:v>0.0794818409432454</c:v>
                </c:pt>
                <c:pt idx="208">
                  <c:v>0.0794818409432454</c:v>
                </c:pt>
                <c:pt idx="209">
                  <c:v>0.0794818409432454</c:v>
                </c:pt>
                <c:pt idx="210">
                  <c:v>0.08529303842636704</c:v>
                </c:pt>
                <c:pt idx="211">
                  <c:v>0.046615081815880366</c:v>
                </c:pt>
                <c:pt idx="212">
                  <c:v>0.03467903008129847</c:v>
                </c:pt>
                <c:pt idx="213">
                  <c:v>0.036307223237769914</c:v>
                </c:pt>
                <c:pt idx="214">
                  <c:v>0.03456467538378205</c:v>
                </c:pt>
                <c:pt idx="215">
                  <c:v>0.03456467538378205</c:v>
                </c:pt>
                <c:pt idx="216">
                  <c:v>0.03456467538378205</c:v>
                </c:pt>
                <c:pt idx="217">
                  <c:v>0.018841732352816942</c:v>
                </c:pt>
                <c:pt idx="218">
                  <c:v>0.012272346545018964</c:v>
                </c:pt>
                <c:pt idx="219">
                  <c:v>0.019236497013672027</c:v>
                </c:pt>
                <c:pt idx="220">
                  <c:v>0.007325328963705191</c:v>
                </c:pt>
                <c:pt idx="221">
                  <c:v>0.0072870352666816185</c:v>
                </c:pt>
                <c:pt idx="222">
                  <c:v>0.0072870352666816185</c:v>
                </c:pt>
                <c:pt idx="223">
                  <c:v>0.0072870352666816185</c:v>
                </c:pt>
                <c:pt idx="224">
                  <c:v>0.014218542816145208</c:v>
                </c:pt>
                <c:pt idx="225">
                  <c:v>0.02586676876498739</c:v>
                </c:pt>
                <c:pt idx="226">
                  <c:v>0.018816323301146687</c:v>
                </c:pt>
                <c:pt idx="227">
                  <c:v>0.0015424816057549862</c:v>
                </c:pt>
                <c:pt idx="228">
                  <c:v>-0.013055025727275682</c:v>
                </c:pt>
                <c:pt idx="229">
                  <c:v>-0.013055025727275682</c:v>
                </c:pt>
                <c:pt idx="230">
                  <c:v>-0.013055025727275682</c:v>
                </c:pt>
                <c:pt idx="231">
                  <c:v>-0.04970202068847718</c:v>
                </c:pt>
                <c:pt idx="232">
                  <c:v>-0.0729579029575459</c:v>
                </c:pt>
                <c:pt idx="233">
                  <c:v>-0.06436983544696129</c:v>
                </c:pt>
                <c:pt idx="234">
                  <c:v>-0.0435973779719554</c:v>
                </c:pt>
                <c:pt idx="235">
                  <c:v>-0.06978026562741013</c:v>
                </c:pt>
                <c:pt idx="236">
                  <c:v>-0.06978026562741013</c:v>
                </c:pt>
                <c:pt idx="237">
                  <c:v>-0.06978026562741013</c:v>
                </c:pt>
                <c:pt idx="238">
                  <c:v>-0.0664040848793187</c:v>
                </c:pt>
                <c:pt idx="239">
                  <c:v>-0.059997549564988595</c:v>
                </c:pt>
                <c:pt idx="240">
                  <c:v>-0.04591699764352308</c:v>
                </c:pt>
                <c:pt idx="241">
                  <c:v>-0.07436629496903102</c:v>
                </c:pt>
                <c:pt idx="242">
                  <c:v>-0.080615190155787</c:v>
                </c:pt>
                <c:pt idx="243">
                  <c:v>-0.080615190155787</c:v>
                </c:pt>
                <c:pt idx="244">
                  <c:v>-0.080615190155787</c:v>
                </c:pt>
                <c:pt idx="245">
                  <c:v>-0.11110167830917028</c:v>
                </c:pt>
                <c:pt idx="246">
                  <c:v>-0.10578115785226239</c:v>
                </c:pt>
                <c:pt idx="247">
                  <c:v>-0.11590276651911469</c:v>
                </c:pt>
                <c:pt idx="248">
                  <c:v>-0.11818062414395814</c:v>
                </c:pt>
                <c:pt idx="249">
                  <c:v>-0.09359873885888592</c:v>
                </c:pt>
                <c:pt idx="250">
                  <c:v>-0.09359873885888592</c:v>
                </c:pt>
                <c:pt idx="251">
                  <c:v>-0.09359873885888592</c:v>
                </c:pt>
                <c:pt idx="252">
                  <c:v>-0.10331972231060782</c:v>
                </c:pt>
                <c:pt idx="253">
                  <c:v>-0.08015254173668873</c:v>
                </c:pt>
                <c:pt idx="254">
                  <c:v>-0.11304640367997454</c:v>
                </c:pt>
                <c:pt idx="255">
                  <c:v>-0.11022520779838152</c:v>
                </c:pt>
                <c:pt idx="256">
                  <c:v>-0.10726098157286201</c:v>
                </c:pt>
                <c:pt idx="257">
                  <c:v>-0.10726098157286201</c:v>
                </c:pt>
                <c:pt idx="258">
                  <c:v>-0.10726098157286201</c:v>
                </c:pt>
                <c:pt idx="259">
                  <c:v>-0.09206931416139963</c:v>
                </c:pt>
                <c:pt idx="260">
                  <c:v>-0.09547271961770665</c:v>
                </c:pt>
                <c:pt idx="261">
                  <c:v>-0.08745602670931008</c:v>
                </c:pt>
                <c:pt idx="262">
                  <c:v>-0.07152102577698827</c:v>
                </c:pt>
                <c:pt idx="263">
                  <c:v>-0.05082746411592365</c:v>
                </c:pt>
                <c:pt idx="264">
                  <c:v>-0.05082746411592365</c:v>
                </c:pt>
                <c:pt idx="265">
                  <c:v>-0.05082746411592365</c:v>
                </c:pt>
                <c:pt idx="266">
                  <c:v>-0.050543274499941115</c:v>
                </c:pt>
                <c:pt idx="267">
                  <c:v>-0.054602946141671715</c:v>
                </c:pt>
                <c:pt idx="268">
                  <c:v>-0.05995734802388453</c:v>
                </c:pt>
                <c:pt idx="269">
                  <c:v>-0.039700808103269036</c:v>
                </c:pt>
                <c:pt idx="270">
                  <c:v>-0.06129378760063653</c:v>
                </c:pt>
                <c:pt idx="271">
                  <c:v>-0.06129378760063653</c:v>
                </c:pt>
                <c:pt idx="272">
                  <c:v>-0.06129378760063653</c:v>
                </c:pt>
                <c:pt idx="273">
                  <c:v>-0.06539434507292874</c:v>
                </c:pt>
                <c:pt idx="274">
                  <c:v>-0.06563563112052762</c:v>
                </c:pt>
                <c:pt idx="275">
                  <c:v>-0.07848312946753477</c:v>
                </c:pt>
                <c:pt idx="276">
                  <c:v>-0.09767980858759306</c:v>
                </c:pt>
                <c:pt idx="277">
                  <c:v>-0.116904838371225</c:v>
                </c:pt>
                <c:pt idx="278">
                  <c:v>-0.116904838371225</c:v>
                </c:pt>
                <c:pt idx="279">
                  <c:v>-0.116904838371225</c:v>
                </c:pt>
                <c:pt idx="280">
                  <c:v>-0.1448044068357769</c:v>
                </c:pt>
                <c:pt idx="281">
                  <c:v>-0.15555201974198762</c:v>
                </c:pt>
                <c:pt idx="282">
                  <c:v>-0.1419690452673399</c:v>
                </c:pt>
                <c:pt idx="283">
                  <c:v>-0.16590429011160146</c:v>
                </c:pt>
                <c:pt idx="284">
                  <c:v>-0.1656952680053384</c:v>
                </c:pt>
                <c:pt idx="285">
                  <c:v>-0.1656952680053384</c:v>
                </c:pt>
                <c:pt idx="286">
                  <c:v>-0.1656952680053384</c:v>
                </c:pt>
                <c:pt idx="287">
                  <c:v>-0.16190545751139385</c:v>
                </c:pt>
                <c:pt idx="288">
                  <c:v>-0.1455757052061868</c:v>
                </c:pt>
                <c:pt idx="289">
                  <c:v>-0.14931931497389073</c:v>
                </c:pt>
                <c:pt idx="290">
                  <c:v>-0.14200744045421565</c:v>
                </c:pt>
                <c:pt idx="291">
                  <c:v>-0.11595966665551172</c:v>
                </c:pt>
                <c:pt idx="292">
                  <c:v>-0.11595966665551172</c:v>
                </c:pt>
                <c:pt idx="293">
                  <c:v>-0.11595966665551172</c:v>
                </c:pt>
                <c:pt idx="294">
                  <c:v>-0.11741082803561709</c:v>
                </c:pt>
                <c:pt idx="295">
                  <c:v>-0.12906494599423257</c:v>
                </c:pt>
                <c:pt idx="296">
                  <c:v>-0.13021671646148303</c:v>
                </c:pt>
                <c:pt idx="297">
                  <c:v>-0.13649955319765128</c:v>
                </c:pt>
                <c:pt idx="298">
                  <c:v>-0.14186125905484326</c:v>
                </c:pt>
                <c:pt idx="299">
                  <c:v>-0.14186125905484326</c:v>
                </c:pt>
                <c:pt idx="300">
                  <c:v>-0.14186125905484326</c:v>
                </c:pt>
                <c:pt idx="301">
                  <c:v>-0.15309128583410547</c:v>
                </c:pt>
                <c:pt idx="302">
                  <c:v>-0.1623738781552856</c:v>
                </c:pt>
                <c:pt idx="303">
                  <c:v>-0.1611797654590199</c:v>
                </c:pt>
                <c:pt idx="304">
                  <c:v>-0.16177607814175932</c:v>
                </c:pt>
                <c:pt idx="305">
                  <c:v>-0.16135427315171513</c:v>
                </c:pt>
                <c:pt idx="306">
                  <c:v>-0.16135427315171513</c:v>
                </c:pt>
                <c:pt idx="307">
                  <c:v>-0.16135427315171513</c:v>
                </c:pt>
                <c:pt idx="308">
                  <c:v>-0.17689831851690896</c:v>
                </c:pt>
                <c:pt idx="309">
                  <c:v>-0.1767681333895732</c:v>
                </c:pt>
                <c:pt idx="310">
                  <c:v>-0.17962386396951635</c:v>
                </c:pt>
                <c:pt idx="311">
                  <c:v>-0.18468704431897442</c:v>
                </c:pt>
                <c:pt idx="312">
                  <c:v>-0.16897275605212514</c:v>
                </c:pt>
                <c:pt idx="313">
                  <c:v>-0.16897275605212514</c:v>
                </c:pt>
                <c:pt idx="314">
                  <c:v>-0.16897275605212514</c:v>
                </c:pt>
                <c:pt idx="315">
                  <c:v>-0.17187414778401633</c:v>
                </c:pt>
                <c:pt idx="316">
                  <c:v>-0.1495581255168269</c:v>
                </c:pt>
                <c:pt idx="317">
                  <c:v>-0.1466635831172255</c:v>
                </c:pt>
                <c:pt idx="318">
                  <c:v>-0.13769517793258734</c:v>
                </c:pt>
                <c:pt idx="319">
                  <c:v>-0.143160493209742</c:v>
                </c:pt>
                <c:pt idx="320">
                  <c:v>-0.143160493209742</c:v>
                </c:pt>
                <c:pt idx="321">
                  <c:v>-0.143160493209742</c:v>
                </c:pt>
                <c:pt idx="322">
                  <c:v>-0.1437368894104878</c:v>
                </c:pt>
                <c:pt idx="323">
                  <c:v>-0.1585258781396971</c:v>
                </c:pt>
                <c:pt idx="324">
                  <c:v>-0.11260576435209357</c:v>
                </c:pt>
                <c:pt idx="325">
                  <c:v>-0.10239682313866005</c:v>
                </c:pt>
                <c:pt idx="326">
                  <c:v>-0.11813084788060624</c:v>
                </c:pt>
                <c:pt idx="327">
                  <c:v>-0.11813084788060624</c:v>
                </c:pt>
                <c:pt idx="328">
                  <c:v>-0.11813084788060624</c:v>
                </c:pt>
                <c:pt idx="329">
                  <c:v>-0.11918901680319227</c:v>
                </c:pt>
                <c:pt idx="330">
                  <c:v>-0.12370841174503666</c:v>
                </c:pt>
                <c:pt idx="331">
                  <c:v>-0.13650511128849152</c:v>
                </c:pt>
                <c:pt idx="332">
                  <c:v>-0.1318639434090566</c:v>
                </c:pt>
                <c:pt idx="333">
                  <c:v>-0.1328136468544311</c:v>
                </c:pt>
                <c:pt idx="334">
                  <c:v>-0.1328136468544311</c:v>
                </c:pt>
                <c:pt idx="335">
                  <c:v>-0.1328136468544311</c:v>
                </c:pt>
                <c:pt idx="336">
                  <c:v>-0.1248669594993953</c:v>
                </c:pt>
                <c:pt idx="337">
                  <c:v>-0.14024035059931228</c:v>
                </c:pt>
                <c:pt idx="338">
                  <c:v>-0.1170689227943128</c:v>
                </c:pt>
                <c:pt idx="339">
                  <c:v>-0.11900207979637456</c:v>
                </c:pt>
                <c:pt idx="340">
                  <c:v>-0.103313786295539</c:v>
                </c:pt>
                <c:pt idx="341">
                  <c:v>-0.103313786295539</c:v>
                </c:pt>
                <c:pt idx="342">
                  <c:v>-0.103313786295539</c:v>
                </c:pt>
                <c:pt idx="343">
                  <c:v>-0.10291380727894028</c:v>
                </c:pt>
                <c:pt idx="344">
                  <c:v>-0.10195405597261142</c:v>
                </c:pt>
                <c:pt idx="345">
                  <c:v>-0.10861104599111004</c:v>
                </c:pt>
                <c:pt idx="346">
                  <c:v>-0.10794234533564384</c:v>
                </c:pt>
                <c:pt idx="347">
                  <c:v>-0.12006226807627862</c:v>
                </c:pt>
                <c:pt idx="348">
                  <c:v>-0.12006226807627862</c:v>
                </c:pt>
                <c:pt idx="349">
                  <c:v>-0.12006226807627862</c:v>
                </c:pt>
                <c:pt idx="350">
                  <c:v>-0.1352161505327334</c:v>
                </c:pt>
                <c:pt idx="351">
                  <c:v>-0.136445462538484</c:v>
                </c:pt>
                <c:pt idx="352">
                  <c:v>-0.1321187843862377</c:v>
                </c:pt>
                <c:pt idx="353">
                  <c:v>-0.12129952144984368</c:v>
                </c:pt>
                <c:pt idx="354">
                  <c:v>-0.1476963840010722</c:v>
                </c:pt>
                <c:pt idx="355">
                  <c:v>-0.1476963840010722</c:v>
                </c:pt>
                <c:pt idx="356">
                  <c:v>-0.1476963840010722</c:v>
                </c:pt>
                <c:pt idx="357">
                  <c:v>-0.14748498392942444</c:v>
                </c:pt>
                <c:pt idx="358">
                  <c:v>-0.16532237915330927</c:v>
                </c:pt>
                <c:pt idx="359">
                  <c:v>-0.17593277453102307</c:v>
                </c:pt>
                <c:pt idx="360">
                  <c:v>-0.1855503515441136</c:v>
                </c:pt>
                <c:pt idx="361">
                  <c:v>-0.21839637646596077</c:v>
                </c:pt>
                <c:pt idx="362">
                  <c:v>-0.21839637646596077</c:v>
                </c:pt>
                <c:pt idx="363">
                  <c:v>-0.21839637646596077</c:v>
                </c:pt>
                <c:pt idx="364">
                  <c:v>-0.21571261959581667</c:v>
                </c:pt>
                <c:pt idx="365">
                  <c:v>-0.21922884851182112</c:v>
                </c:pt>
                <c:pt idx="366">
                  <c:v>-0.20679862211643318</c:v>
                </c:pt>
                <c:pt idx="367">
                  <c:v>-0.2010093468519074</c:v>
                </c:pt>
                <c:pt idx="368">
                  <c:v>-0.18410535738119038</c:v>
                </c:pt>
                <c:pt idx="369">
                  <c:v>-0.18410535738119038</c:v>
                </c:pt>
                <c:pt idx="370">
                  <c:v>-0.18410535738119038</c:v>
                </c:pt>
                <c:pt idx="371">
                  <c:v>-0.17887805382243194</c:v>
                </c:pt>
                <c:pt idx="372">
                  <c:v>-0.20500226019733592</c:v>
                </c:pt>
                <c:pt idx="373">
                  <c:v>-0.20102696120929664</c:v>
                </c:pt>
                <c:pt idx="374">
                  <c:v>-0.20772926321316898</c:v>
                </c:pt>
                <c:pt idx="375">
                  <c:v>-0.2140145737575988</c:v>
                </c:pt>
                <c:pt idx="376">
                  <c:v>-0.2140145737575988</c:v>
                </c:pt>
                <c:pt idx="377">
                  <c:v>-0.2140145737575988</c:v>
                </c:pt>
                <c:pt idx="378">
                  <c:v>-0.22538623538783253</c:v>
                </c:pt>
                <c:pt idx="379">
                  <c:v>-0.21497208147974278</c:v>
                </c:pt>
                <c:pt idx="380">
                  <c:v>-0.22008856326685544</c:v>
                </c:pt>
                <c:pt idx="381">
                  <c:v>-0.23125790071512076</c:v>
                </c:pt>
                <c:pt idx="382">
                  <c:v>-0.24870218488836315</c:v>
                </c:pt>
                <c:pt idx="383">
                  <c:v>-0.24870218488836315</c:v>
                </c:pt>
                <c:pt idx="384">
                  <c:v>-0.24870218488836315</c:v>
                </c:pt>
                <c:pt idx="385">
                  <c:v>-0.23670623673116642</c:v>
                </c:pt>
                <c:pt idx="386">
                  <c:v>-0.2574272880901215</c:v>
                </c:pt>
                <c:pt idx="387">
                  <c:v>-0.24169800489009574</c:v>
                </c:pt>
                <c:pt idx="388">
                  <c:v>-0.2535658064577335</c:v>
                </c:pt>
                <c:pt idx="389">
                  <c:v>-0.2617800397410811</c:v>
                </c:pt>
                <c:pt idx="390">
                  <c:v>-0.2617800397410811</c:v>
                </c:pt>
                <c:pt idx="391">
                  <c:v>-0.2617800397410811</c:v>
                </c:pt>
                <c:pt idx="392">
                  <c:v>-0.24400874219529667</c:v>
                </c:pt>
                <c:pt idx="393">
                  <c:v>-0.2213244056521103</c:v>
                </c:pt>
                <c:pt idx="394">
                  <c:v>-0.22177120669739359</c:v>
                </c:pt>
                <c:pt idx="395">
                  <c:v>-0.22832185095810342</c:v>
                </c:pt>
                <c:pt idx="396">
                  <c:v>-0.24846066688862467</c:v>
                </c:pt>
                <c:pt idx="397">
                  <c:v>-0.24846066688862467</c:v>
                </c:pt>
                <c:pt idx="398">
                  <c:v>-0.24846066688862467</c:v>
                </c:pt>
                <c:pt idx="399">
                  <c:v>-0.24976493728587434</c:v>
                </c:pt>
                <c:pt idx="400">
                  <c:v>-0.2604906563743953</c:v>
                </c:pt>
                <c:pt idx="401">
                  <c:v>-0.2621772180572164</c:v>
                </c:pt>
                <c:pt idx="402">
                  <c:v>-0.24340681669000663</c:v>
                </c:pt>
                <c:pt idx="403">
                  <c:v>-0.25796613726974604</c:v>
                </c:pt>
                <c:pt idx="404">
                  <c:v>-0.25796613726974604</c:v>
                </c:pt>
                <c:pt idx="405">
                  <c:v>-0.25796613726974604</c:v>
                </c:pt>
                <c:pt idx="406">
                  <c:v>-0.23861924068699902</c:v>
                </c:pt>
                <c:pt idx="407">
                  <c:v>-0.22998036680869915</c:v>
                </c:pt>
                <c:pt idx="408">
                  <c:v>-0.23835506320802002</c:v>
                </c:pt>
                <c:pt idx="409">
                  <c:v>-0.24097496586838685</c:v>
                </c:pt>
                <c:pt idx="410">
                  <c:v>-0.22467960664292663</c:v>
                </c:pt>
                <c:pt idx="411">
                  <c:v>-0.22467960664292663</c:v>
                </c:pt>
                <c:pt idx="412">
                  <c:v>-0.22467960664292663</c:v>
                </c:pt>
                <c:pt idx="413">
                  <c:v>-0.2297046684229026</c:v>
                </c:pt>
                <c:pt idx="414">
                  <c:v>-0.20955665976107518</c:v>
                </c:pt>
                <c:pt idx="415">
                  <c:v>-0.20243410709991105</c:v>
                </c:pt>
                <c:pt idx="416">
                  <c:v>-0.20785410017928796</c:v>
                </c:pt>
                <c:pt idx="417">
                  <c:v>-0.19216768626946878</c:v>
                </c:pt>
                <c:pt idx="418">
                  <c:v>-0.19216768626946878</c:v>
                </c:pt>
                <c:pt idx="419">
                  <c:v>-0.19216768626946878</c:v>
                </c:pt>
                <c:pt idx="420">
                  <c:v>-0.1962646869855067</c:v>
                </c:pt>
                <c:pt idx="421">
                  <c:v>-0.18726545644524173</c:v>
                </c:pt>
                <c:pt idx="422">
                  <c:v>-0.21124223973650236</c:v>
                </c:pt>
                <c:pt idx="423">
                  <c:v>-0.21595833330146852</c:v>
                </c:pt>
                <c:pt idx="424">
                  <c:v>-0.19863082347808492</c:v>
                </c:pt>
                <c:pt idx="425">
                  <c:v>-0.19863082347808492</c:v>
                </c:pt>
                <c:pt idx="426">
                  <c:v>-0.19863082347808492</c:v>
                </c:pt>
                <c:pt idx="427">
                  <c:v>-0.19940317522136042</c:v>
                </c:pt>
                <c:pt idx="428">
                  <c:v>-0.1841038803583288</c:v>
                </c:pt>
                <c:pt idx="429">
                  <c:v>-0.1973324578055189</c:v>
                </c:pt>
                <c:pt idx="430">
                  <c:v>-0.1542988129883749</c:v>
                </c:pt>
                <c:pt idx="431">
                  <c:v>-0.1393289548398432</c:v>
                </c:pt>
                <c:pt idx="432">
                  <c:v>-0.1393289548398432</c:v>
                </c:pt>
                <c:pt idx="433">
                  <c:v>-0.1393289548398432</c:v>
                </c:pt>
                <c:pt idx="434">
                  <c:v>-0.15133861488945555</c:v>
                </c:pt>
                <c:pt idx="435">
                  <c:v>-0.1334688043269877</c:v>
                </c:pt>
                <c:pt idx="436">
                  <c:v>-0.13727364094029038</c:v>
                </c:pt>
                <c:pt idx="437">
                  <c:v>-0.13606096694609737</c:v>
                </c:pt>
                <c:pt idx="438">
                  <c:v>-0.13107818103633562</c:v>
                </c:pt>
                <c:pt idx="439">
                  <c:v>-0.13107818103633562</c:v>
                </c:pt>
                <c:pt idx="440">
                  <c:v>-0.13107818103633562</c:v>
                </c:pt>
                <c:pt idx="441">
                  <c:v>-0.13422840679424797</c:v>
                </c:pt>
                <c:pt idx="442">
                  <c:v>-0.12313107969403092</c:v>
                </c:pt>
                <c:pt idx="443">
                  <c:v>-0.11100275320860065</c:v>
                </c:pt>
                <c:pt idx="444">
                  <c:v>-0.10860207024333601</c:v>
                </c:pt>
                <c:pt idx="445">
                  <c:v>-0.10291156343004282</c:v>
                </c:pt>
                <c:pt idx="446">
                  <c:v>-0.10291156343004282</c:v>
                </c:pt>
                <c:pt idx="447">
                  <c:v>-0.10291156343004282</c:v>
                </c:pt>
                <c:pt idx="448">
                  <c:v>-0.114721872915163</c:v>
                </c:pt>
                <c:pt idx="449">
                  <c:v>-0.10941054045038401</c:v>
                </c:pt>
                <c:pt idx="450">
                  <c:v>-0.08348437969208977</c:v>
                </c:pt>
                <c:pt idx="451">
                  <c:v>-0.0762725908215175</c:v>
                </c:pt>
                <c:pt idx="452">
                  <c:v>-0.07561575647393481</c:v>
                </c:pt>
                <c:pt idx="453">
                  <c:v>-0.07561575647393481</c:v>
                </c:pt>
                <c:pt idx="454">
                  <c:v>-0.07561575647393481</c:v>
                </c:pt>
                <c:pt idx="455">
                  <c:v>-0.08905189569708216</c:v>
                </c:pt>
                <c:pt idx="456">
                  <c:v>-0.09796388643164389</c:v>
                </c:pt>
                <c:pt idx="457">
                  <c:v>-0.09509013775684516</c:v>
                </c:pt>
                <c:pt idx="458">
                  <c:v>-0.08760049673183623</c:v>
                </c:pt>
                <c:pt idx="459">
                  <c:v>-0.08952285323551068</c:v>
                </c:pt>
                <c:pt idx="460">
                  <c:v>-0.08952285323551068</c:v>
                </c:pt>
                <c:pt idx="461">
                  <c:v>-0.08952285323551068</c:v>
                </c:pt>
                <c:pt idx="462">
                  <c:v>-0.07744011894327651</c:v>
                </c:pt>
                <c:pt idx="463">
                  <c:v>-0.06772701019130078</c:v>
                </c:pt>
                <c:pt idx="464">
                  <c:v>-0.06745859138542631</c:v>
                </c:pt>
                <c:pt idx="465">
                  <c:v>-0.08766385508749408</c:v>
                </c:pt>
                <c:pt idx="466">
                  <c:v>-0.09447327148612261</c:v>
                </c:pt>
                <c:pt idx="467">
                  <c:v>-0.09447327148612261</c:v>
                </c:pt>
                <c:pt idx="468">
                  <c:v>-0.09447327148612261</c:v>
                </c:pt>
                <c:pt idx="469">
                  <c:v>-0.09196962197491299</c:v>
                </c:pt>
                <c:pt idx="470">
                  <c:v>-0.09111658551030755</c:v>
                </c:pt>
                <c:pt idx="471">
                  <c:v>-0.07434575342754779</c:v>
                </c:pt>
                <c:pt idx="472">
                  <c:v>-0.08487497630117768</c:v>
                </c:pt>
                <c:pt idx="473">
                  <c:v>-0.08071371185411713</c:v>
                </c:pt>
                <c:pt idx="474">
                  <c:v>-0.08071371185411713</c:v>
                </c:pt>
                <c:pt idx="475">
                  <c:v>-0.08071371185411713</c:v>
                </c:pt>
                <c:pt idx="476">
                  <c:v>-0.07681979173881803</c:v>
                </c:pt>
                <c:pt idx="477">
                  <c:v>-0.07740607112639575</c:v>
                </c:pt>
                <c:pt idx="478">
                  <c:v>-0.085685057976706</c:v>
                </c:pt>
                <c:pt idx="479">
                  <c:v>-0.06844785120306973</c:v>
                </c:pt>
                <c:pt idx="480">
                  <c:v>-0.06980039145881556</c:v>
                </c:pt>
                <c:pt idx="481">
                  <c:v>-0.06980039145881556</c:v>
                </c:pt>
                <c:pt idx="482">
                  <c:v>-0.06980039145881556</c:v>
                </c:pt>
                <c:pt idx="483">
                  <c:v>-0.06814141119873951</c:v>
                </c:pt>
                <c:pt idx="484">
                  <c:v>-0.06969573568224341</c:v>
                </c:pt>
                <c:pt idx="485">
                  <c:v>-0.056176337646413055</c:v>
                </c:pt>
                <c:pt idx="486">
                  <c:v>-0.06191677419449315</c:v>
                </c:pt>
                <c:pt idx="487">
                  <c:v>-0.038664335352650236</c:v>
                </c:pt>
                <c:pt idx="488">
                  <c:v>-0.038664335352650236</c:v>
                </c:pt>
                <c:pt idx="489">
                  <c:v>-0.038664335352650236</c:v>
                </c:pt>
                <c:pt idx="490">
                  <c:v>-0.034654233459566086</c:v>
                </c:pt>
                <c:pt idx="491">
                  <c:v>-0.027051305648442825</c:v>
                </c:pt>
                <c:pt idx="492">
                  <c:v>-0.016364337668087314</c:v>
                </c:pt>
                <c:pt idx="493">
                  <c:v>-0.007581565690763292</c:v>
                </c:pt>
                <c:pt idx="494">
                  <c:v>-0.0036783031872333893</c:v>
                </c:pt>
                <c:pt idx="495">
                  <c:v>-0.0036783031872333893</c:v>
                </c:pt>
                <c:pt idx="496">
                  <c:v>-0.0036783031872333893</c:v>
                </c:pt>
                <c:pt idx="497">
                  <c:v>-0.004280689499722712</c:v>
                </c:pt>
                <c:pt idx="498">
                  <c:v>0.0011714934683371148</c:v>
                </c:pt>
                <c:pt idx="499">
                  <c:v>-0.005984421105977411</c:v>
                </c:pt>
                <c:pt idx="500">
                  <c:v>-0.01168092102516094</c:v>
                </c:pt>
                <c:pt idx="501">
                  <c:v>0.01656711202991179</c:v>
                </c:pt>
                <c:pt idx="502">
                  <c:v>0.01656711202991179</c:v>
                </c:pt>
                <c:pt idx="503">
                  <c:v>0.01656711202991179</c:v>
                </c:pt>
                <c:pt idx="504">
                  <c:v>0.0170965981015061</c:v>
                </c:pt>
                <c:pt idx="505">
                  <c:v>0.02238574419803241</c:v>
                </c:pt>
                <c:pt idx="506">
                  <c:v>0.030153802064225133</c:v>
                </c:pt>
                <c:pt idx="507">
                  <c:v>0.042043173732312145</c:v>
                </c:pt>
                <c:pt idx="508">
                  <c:v>0.04677503278259443</c:v>
                </c:pt>
                <c:pt idx="509">
                  <c:v>0.04677503278259443</c:v>
                </c:pt>
                <c:pt idx="510">
                  <c:v>0.04677503278259443</c:v>
                </c:pt>
                <c:pt idx="511">
                  <c:v>0.03596414976294704</c:v>
                </c:pt>
                <c:pt idx="512">
                  <c:v>0.05223189452099386</c:v>
                </c:pt>
                <c:pt idx="513">
                  <c:v>0.06321074904207191</c:v>
                </c:pt>
                <c:pt idx="514">
                  <c:v>0.07633730383141257</c:v>
                </c:pt>
                <c:pt idx="515">
                  <c:v>0.0637272256782182</c:v>
                </c:pt>
                <c:pt idx="516">
                  <c:v>0.0637272256782182</c:v>
                </c:pt>
                <c:pt idx="517">
                  <c:v>0.0637272256782182</c:v>
                </c:pt>
                <c:pt idx="518">
                  <c:v>0.065040213491947</c:v>
                </c:pt>
                <c:pt idx="519">
                  <c:v>0.0671756863364048</c:v>
                </c:pt>
                <c:pt idx="520">
                  <c:v>0.060869728609528106</c:v>
                </c:pt>
                <c:pt idx="521">
                  <c:v>0.058778427542277134</c:v>
                </c:pt>
                <c:pt idx="522">
                  <c:v>0.05854172071237884</c:v>
                </c:pt>
                <c:pt idx="523">
                  <c:v>0.05854172071237884</c:v>
                </c:pt>
                <c:pt idx="524">
                  <c:v>0.05854172071237884</c:v>
                </c:pt>
                <c:pt idx="525">
                  <c:v>0.07078541173921371</c:v>
                </c:pt>
                <c:pt idx="526">
                  <c:v>0.07299816953451876</c:v>
                </c:pt>
                <c:pt idx="527">
                  <c:v>0.07724494003122828</c:v>
                </c:pt>
                <c:pt idx="528">
                  <c:v>0.0679562184092013</c:v>
                </c:pt>
                <c:pt idx="529">
                  <c:v>0.06716562647339352</c:v>
                </c:pt>
                <c:pt idx="530">
                  <c:v>0.06716562647339352</c:v>
                </c:pt>
                <c:pt idx="531">
                  <c:v>0.06716562647339352</c:v>
                </c:pt>
                <c:pt idx="532">
                  <c:v>0.06225619057711551</c:v>
                </c:pt>
                <c:pt idx="533">
                  <c:v>0.054067784853788936</c:v>
                </c:pt>
                <c:pt idx="534">
                  <c:v>0.053428361295700944</c:v>
                </c:pt>
                <c:pt idx="535">
                  <c:v>0.061266825909667144</c:v>
                </c:pt>
                <c:pt idx="536">
                  <c:v>0.05141268681270561</c:v>
                </c:pt>
                <c:pt idx="537">
                  <c:v>0.05141268681270561</c:v>
                </c:pt>
                <c:pt idx="538">
                  <c:v>0.05141268681270561</c:v>
                </c:pt>
                <c:pt idx="539">
                  <c:v>0.05992149769308752</c:v>
                </c:pt>
                <c:pt idx="540">
                  <c:v>0.05770379359390132</c:v>
                </c:pt>
                <c:pt idx="541">
                  <c:v>0.06112308374365871</c:v>
                </c:pt>
                <c:pt idx="542">
                  <c:v>0.07378904837738998</c:v>
                </c:pt>
                <c:pt idx="543">
                  <c:v>0.09298137292756925</c:v>
                </c:pt>
                <c:pt idx="544">
                  <c:v>0.09298137292756925</c:v>
                </c:pt>
                <c:pt idx="545">
                  <c:v>0.09298137292756925</c:v>
                </c:pt>
                <c:pt idx="546">
                  <c:v>0.09235372754827265</c:v>
                </c:pt>
                <c:pt idx="547">
                  <c:v>0.08285602817668658</c:v>
                </c:pt>
                <c:pt idx="548">
                  <c:v>0.08505544006487731</c:v>
                </c:pt>
                <c:pt idx="549">
                  <c:v>0.07026817845488909</c:v>
                </c:pt>
                <c:pt idx="550">
                  <c:v>0.05681222449479861</c:v>
                </c:pt>
                <c:pt idx="551">
                  <c:v>0.05681222449479861</c:v>
                </c:pt>
                <c:pt idx="552">
                  <c:v>0.05681222449479861</c:v>
                </c:pt>
                <c:pt idx="553">
                  <c:v>0.049879072284033654</c:v>
                </c:pt>
                <c:pt idx="554">
                  <c:v>0.07675703433332082</c:v>
                </c:pt>
                <c:pt idx="555">
                  <c:v>0.05986443762258231</c:v>
                </c:pt>
                <c:pt idx="556">
                  <c:v>0.08993763687062706</c:v>
                </c:pt>
                <c:pt idx="557">
                  <c:v>0.07755464106454579</c:v>
                </c:pt>
                <c:pt idx="558">
                  <c:v>0.07755464106454579</c:v>
                </c:pt>
                <c:pt idx="559">
                  <c:v>0.07755464106454579</c:v>
                </c:pt>
                <c:pt idx="560">
                  <c:v>0.07266289883113375</c:v>
                </c:pt>
                <c:pt idx="561">
                  <c:v>0.10764026627388823</c:v>
                </c:pt>
                <c:pt idx="562">
                  <c:v>0.10379571698626999</c:v>
                </c:pt>
                <c:pt idx="563">
                  <c:v>0.11345459036452321</c:v>
                </c:pt>
                <c:pt idx="564">
                  <c:v>0.12755425534001907</c:v>
                </c:pt>
                <c:pt idx="565">
                  <c:v>0.12755425534001907</c:v>
                </c:pt>
                <c:pt idx="566">
                  <c:v>0.12755425534001907</c:v>
                </c:pt>
                <c:pt idx="567">
                  <c:v>0.13595446995058746</c:v>
                </c:pt>
                <c:pt idx="568">
                  <c:v>0.14204123582494188</c:v>
                </c:pt>
                <c:pt idx="569">
                  <c:v>0.1533772002667182</c:v>
                </c:pt>
                <c:pt idx="570">
                  <c:v>0.16422266753343506</c:v>
                </c:pt>
                <c:pt idx="571">
                  <c:v>0.1846608700509702</c:v>
                </c:pt>
                <c:pt idx="572">
                  <c:v>0.1846608700509702</c:v>
                </c:pt>
                <c:pt idx="573">
                  <c:v>0.1846608700509702</c:v>
                </c:pt>
                <c:pt idx="574">
                  <c:v>0.17762285449175286</c:v>
                </c:pt>
                <c:pt idx="575">
                  <c:v>0.14606390418878146</c:v>
                </c:pt>
                <c:pt idx="576">
                  <c:v>0.1245105563506761</c:v>
                </c:pt>
                <c:pt idx="577">
                  <c:v>0.10348780853980521</c:v>
                </c:pt>
                <c:pt idx="578">
                  <c:v>0.09606091346044043</c:v>
                </c:pt>
                <c:pt idx="579">
                  <c:v>0.09606091346044043</c:v>
                </c:pt>
                <c:pt idx="580">
                  <c:v>0.09606091346044043</c:v>
                </c:pt>
                <c:pt idx="581">
                  <c:v>0.08879278741276053</c:v>
                </c:pt>
                <c:pt idx="582">
                  <c:v>0.09982944076511835</c:v>
                </c:pt>
                <c:pt idx="583">
                  <c:v>0.0708524992489814</c:v>
                </c:pt>
                <c:pt idx="584">
                  <c:v>0.05089750975350005</c:v>
                </c:pt>
                <c:pt idx="585">
                  <c:v>0.03841263244454929</c:v>
                </c:pt>
                <c:pt idx="586">
                  <c:v>0.03841263244454929</c:v>
                </c:pt>
                <c:pt idx="587">
                  <c:v>0.03841263244454929</c:v>
                </c:pt>
                <c:pt idx="588">
                  <c:v>0.017435273174317922</c:v>
                </c:pt>
                <c:pt idx="589">
                  <c:v>-0.009226168868889606</c:v>
                </c:pt>
                <c:pt idx="590">
                  <c:v>-0.007699645470881977</c:v>
                </c:pt>
                <c:pt idx="591">
                  <c:v>-0.029622536220701656</c:v>
                </c:pt>
                <c:pt idx="592">
                  <c:v>-0.03213922694123117</c:v>
                </c:pt>
                <c:pt idx="593">
                  <c:v>-0.03213922694123117</c:v>
                </c:pt>
                <c:pt idx="594">
                  <c:v>-0.03213922694123117</c:v>
                </c:pt>
                <c:pt idx="595">
                  <c:v>-0.023766807523757594</c:v>
                </c:pt>
                <c:pt idx="596">
                  <c:v>-0.03969451232934529</c:v>
                </c:pt>
                <c:pt idx="597">
                  <c:v>-0.0332587876280207</c:v>
                </c:pt>
                <c:pt idx="598">
                  <c:v>-0.013686052377365532</c:v>
                </c:pt>
                <c:pt idx="599">
                  <c:v>-0.0029654006910870834</c:v>
                </c:pt>
                <c:pt idx="600">
                  <c:v>-0.0029654006910870834</c:v>
                </c:pt>
                <c:pt idx="601">
                  <c:v>-0.0029654006910870834</c:v>
                </c:pt>
                <c:pt idx="602">
                  <c:v>-0.016750336767247243</c:v>
                </c:pt>
                <c:pt idx="603">
                  <c:v>-0.016806912863217893</c:v>
                </c:pt>
                <c:pt idx="604">
                  <c:v>-0.019817833846081268</c:v>
                </c:pt>
                <c:pt idx="605">
                  <c:v>-0.01947287787748575</c:v>
                </c:pt>
                <c:pt idx="606">
                  <c:v>0.006910642089607455</c:v>
                </c:pt>
                <c:pt idx="607">
                  <c:v>0.006910642089607455</c:v>
                </c:pt>
                <c:pt idx="608">
                  <c:v>0.006910642089607455</c:v>
                </c:pt>
                <c:pt idx="609">
                  <c:v>0.007574544747415368</c:v>
                </c:pt>
                <c:pt idx="610">
                  <c:v>0.007607822729758018</c:v>
                </c:pt>
                <c:pt idx="611">
                  <c:v>0.017612480172271905</c:v>
                </c:pt>
                <c:pt idx="612">
                  <c:v>0.016709104716823076</c:v>
                </c:pt>
                <c:pt idx="613">
                  <c:v>0.015537198390314977</c:v>
                </c:pt>
                <c:pt idx="614">
                  <c:v>0.015537198390314977</c:v>
                </c:pt>
                <c:pt idx="615">
                  <c:v>0.015537198390314977</c:v>
                </c:pt>
                <c:pt idx="616">
                  <c:v>0.02249747562392601</c:v>
                </c:pt>
                <c:pt idx="617">
                  <c:v>0.038637747785817966</c:v>
                </c:pt>
                <c:pt idx="618">
                  <c:v>0.04810135465679166</c:v>
                </c:pt>
                <c:pt idx="619">
                  <c:v>0.046001450325623416</c:v>
                </c:pt>
                <c:pt idx="620">
                  <c:v>0.0514223915851304</c:v>
                </c:pt>
                <c:pt idx="621">
                  <c:v>0.0514223915851304</c:v>
                </c:pt>
                <c:pt idx="622">
                  <c:v>0.0514223915851304</c:v>
                </c:pt>
                <c:pt idx="623">
                  <c:v>0.06404056215006393</c:v>
                </c:pt>
                <c:pt idx="624">
                  <c:v>0.05256551677467236</c:v>
                </c:pt>
                <c:pt idx="625">
                  <c:v>0.05577465131571313</c:v>
                </c:pt>
                <c:pt idx="626">
                  <c:v>0.06184028602335934</c:v>
                </c:pt>
                <c:pt idx="627">
                  <c:v>0.08689376150483064</c:v>
                </c:pt>
                <c:pt idx="628">
                  <c:v>0.08689376150483064</c:v>
                </c:pt>
                <c:pt idx="629">
                  <c:v>0.08689376150483064</c:v>
                </c:pt>
                <c:pt idx="630">
                  <c:v>0.0848883087098753</c:v>
                </c:pt>
                <c:pt idx="631">
                  <c:v>0.08237853298110509</c:v>
                </c:pt>
                <c:pt idx="632">
                  <c:v>0.07611122965101758</c:v>
                </c:pt>
                <c:pt idx="633">
                  <c:v>0.09562237288566644</c:v>
                </c:pt>
                <c:pt idx="634">
                  <c:v>0.11337697851870088</c:v>
                </c:pt>
                <c:pt idx="635">
                  <c:v>0.11337697851870088</c:v>
                </c:pt>
                <c:pt idx="636">
                  <c:v>0.11337697851870088</c:v>
                </c:pt>
                <c:pt idx="637">
                  <c:v>0.12567828282998916</c:v>
                </c:pt>
                <c:pt idx="638">
                  <c:v>0.13281625463678037</c:v>
                </c:pt>
                <c:pt idx="639">
                  <c:v>0.1381780878393335</c:v>
                </c:pt>
                <c:pt idx="640">
                  <c:v>0.14506869042679282</c:v>
                </c:pt>
                <c:pt idx="641">
                  <c:v>0.1542286972236957</c:v>
                </c:pt>
                <c:pt idx="642">
                  <c:v>0.1542286972236957</c:v>
                </c:pt>
                <c:pt idx="643">
                  <c:v>0.1542286972236957</c:v>
                </c:pt>
                <c:pt idx="644">
                  <c:v>0.1622466722810545</c:v>
                </c:pt>
                <c:pt idx="645">
                  <c:v>0.14860824102952486</c:v>
                </c:pt>
                <c:pt idx="646">
                  <c:v>0.10776725396411102</c:v>
                </c:pt>
                <c:pt idx="647">
                  <c:v>0.12292263325319142</c:v>
                </c:pt>
                <c:pt idx="648">
                  <c:v>0.13654245365872164</c:v>
                </c:pt>
                <c:pt idx="649">
                  <c:v>0.13654245365872164</c:v>
                </c:pt>
                <c:pt idx="650">
                  <c:v>0.13654245365872164</c:v>
                </c:pt>
                <c:pt idx="651">
                  <c:v>0.13512019438159228</c:v>
                </c:pt>
                <c:pt idx="652">
                  <c:v>0.12816186697876275</c:v>
                </c:pt>
                <c:pt idx="653">
                  <c:v>0.012167726631329812</c:v>
                </c:pt>
                <c:pt idx="654">
                  <c:v>0.011236717613295255</c:v>
                </c:pt>
                <c:pt idx="655">
                  <c:v>0.015187827565915635</c:v>
                </c:pt>
                <c:pt idx="656">
                  <c:v>0.015187827565915635</c:v>
                </c:pt>
                <c:pt idx="657">
                  <c:v>0.015187827565915635</c:v>
                </c:pt>
                <c:pt idx="658">
                  <c:v>-0.02874365204067142</c:v>
                </c:pt>
                <c:pt idx="659">
                  <c:v>-0.01142132294954823</c:v>
                </c:pt>
                <c:pt idx="660">
                  <c:v>0.0023697825935249384</c:v>
                </c:pt>
                <c:pt idx="661">
                  <c:v>0.004246167566669401</c:v>
                </c:pt>
                <c:pt idx="662">
                  <c:v>0.02352036367466881</c:v>
                </c:pt>
                <c:pt idx="663">
                  <c:v>0.02352036367466881</c:v>
                </c:pt>
                <c:pt idx="664">
                  <c:v>0.02352036367466881</c:v>
                </c:pt>
                <c:pt idx="665">
                  <c:v>0.032718098017207486</c:v>
                </c:pt>
                <c:pt idx="666">
                  <c:v>0.047196026036395056</c:v>
                </c:pt>
                <c:pt idx="667">
                  <c:v>0.043612397588590035</c:v>
                </c:pt>
                <c:pt idx="668">
                  <c:v>0.016897425909678132</c:v>
                </c:pt>
                <c:pt idx="669">
                  <c:v>0.06157121516318331</c:v>
                </c:pt>
                <c:pt idx="670">
                  <c:v>0.06157121516318331</c:v>
                </c:pt>
                <c:pt idx="671">
                  <c:v>0.06157121516318331</c:v>
                </c:pt>
                <c:pt idx="672">
                  <c:v>0.03706457370801619</c:v>
                </c:pt>
                <c:pt idx="673">
                  <c:v>0.06123252132650814</c:v>
                </c:pt>
                <c:pt idx="674">
                  <c:v>0.08327285505260562</c:v>
                </c:pt>
                <c:pt idx="675">
                  <c:v>0.09187409124441648</c:v>
                </c:pt>
                <c:pt idx="676">
                  <c:v>0.10203478033909086</c:v>
                </c:pt>
                <c:pt idx="677">
                  <c:v>0.10203478033909086</c:v>
                </c:pt>
                <c:pt idx="678">
                  <c:v>0.10203478033909086</c:v>
                </c:pt>
                <c:pt idx="679">
                  <c:v>0.11284869677659959</c:v>
                </c:pt>
                <c:pt idx="680">
                  <c:v>0.1378037500308411</c:v>
                </c:pt>
                <c:pt idx="681">
                  <c:v>0.1418175855749808</c:v>
                </c:pt>
                <c:pt idx="682">
                  <c:v>0.1430485809168398</c:v>
                </c:pt>
                <c:pt idx="683">
                  <c:v>0.15707595652803552</c:v>
                </c:pt>
                <c:pt idx="684">
                  <c:v>0.15707595652803552</c:v>
                </c:pt>
                <c:pt idx="685">
                  <c:v>0.15707595652803552</c:v>
                </c:pt>
                <c:pt idx="686">
                  <c:v>0.17237673823455268</c:v>
                </c:pt>
                <c:pt idx="687">
                  <c:v>0.173170002186378</c:v>
                </c:pt>
                <c:pt idx="688">
                  <c:v>0.16963829552626408</c:v>
                </c:pt>
                <c:pt idx="689">
                  <c:v>0.12040284234628773</c:v>
                </c:pt>
                <c:pt idx="690">
                  <c:v>0.11970288170930266</c:v>
                </c:pt>
                <c:pt idx="691">
                  <c:v>0.11970288170930266</c:v>
                </c:pt>
                <c:pt idx="692">
                  <c:v>0.11970288170930266</c:v>
                </c:pt>
                <c:pt idx="693">
                  <c:v>0.12625463678683801</c:v>
                </c:pt>
                <c:pt idx="694">
                  <c:v>0.14172417682138772</c:v>
                </c:pt>
                <c:pt idx="695">
                  <c:v>0.128583354021929</c:v>
                </c:pt>
                <c:pt idx="696">
                  <c:v>0.13891303781526787</c:v>
                </c:pt>
                <c:pt idx="697">
                  <c:v>0.1372454371959273</c:v>
                </c:pt>
                <c:pt idx="698">
                  <c:v>0.1372454371959273</c:v>
                </c:pt>
                <c:pt idx="699">
                  <c:v>0.1372454371959273</c:v>
                </c:pt>
                <c:pt idx="700">
                  <c:v>0.14273189421211785</c:v>
                </c:pt>
                <c:pt idx="701">
                  <c:v>0.1644598834954789</c:v>
                </c:pt>
                <c:pt idx="702">
                  <c:v>0.12796723061786386</c:v>
                </c:pt>
                <c:pt idx="703">
                  <c:v>0.11538900924972828</c:v>
                </c:pt>
                <c:pt idx="704">
                  <c:v>0.11697739125224937</c:v>
                </c:pt>
                <c:pt idx="705">
                  <c:v>0.11697739125224937</c:v>
                </c:pt>
                <c:pt idx="706">
                  <c:v>0.11697739125224937</c:v>
                </c:pt>
                <c:pt idx="707">
                  <c:v>0.12906019071668884</c:v>
                </c:pt>
                <c:pt idx="708">
                  <c:v>0.1250369051669662</c:v>
                </c:pt>
                <c:pt idx="709">
                  <c:v>0.1260451118714656</c:v>
                </c:pt>
                <c:pt idx="710">
                  <c:v>0.12395497736466865</c:v>
                </c:pt>
                <c:pt idx="711">
                  <c:v>0.12347545480664368</c:v>
                </c:pt>
                <c:pt idx="712">
                  <c:v>0.12347545480664368</c:v>
                </c:pt>
                <c:pt idx="713">
                  <c:v>0.12347545480664368</c:v>
                </c:pt>
                <c:pt idx="714">
                  <c:v>0.11518502765095118</c:v>
                </c:pt>
                <c:pt idx="715">
                  <c:v>0.12349950818475475</c:v>
                </c:pt>
                <c:pt idx="716">
                  <c:v>0.13170489103875194</c:v>
                </c:pt>
                <c:pt idx="717">
                  <c:v>0.11864895327313185</c:v>
                </c:pt>
                <c:pt idx="718">
                  <c:v>0.13271119706714862</c:v>
                </c:pt>
                <c:pt idx="719">
                  <c:v>0.13271119706714862</c:v>
                </c:pt>
                <c:pt idx="720">
                  <c:v>0.13271119706714862</c:v>
                </c:pt>
                <c:pt idx="721">
                  <c:v>0.1509493542770597</c:v>
                </c:pt>
                <c:pt idx="722">
                  <c:v>0.17119162673784016</c:v>
                </c:pt>
                <c:pt idx="723">
                  <c:v>0.18710967461893846</c:v>
                </c:pt>
                <c:pt idx="724">
                  <c:v>0.18150286349767164</c:v>
                </c:pt>
                <c:pt idx="725">
                  <c:v>0.1960346420879313</c:v>
                </c:pt>
                <c:pt idx="726">
                  <c:v>0.1960346420879313</c:v>
                </c:pt>
                <c:pt idx="727">
                  <c:v>0.1960346420879313</c:v>
                </c:pt>
                <c:pt idx="728">
                  <c:v>0.20430912580521232</c:v>
                </c:pt>
                <c:pt idx="729">
                  <c:v>0.198652910120789</c:v>
                </c:pt>
                <c:pt idx="730">
                  <c:v>0.20151678903170223</c:v>
                </c:pt>
                <c:pt idx="731">
                  <c:v>0.2000263345290545</c:v>
                </c:pt>
                <c:pt idx="732">
                  <c:v>0.21135612423143768</c:v>
                </c:pt>
                <c:pt idx="733">
                  <c:v>0.21135612423143768</c:v>
                </c:pt>
                <c:pt idx="734">
                  <c:v>0.21135612423143768</c:v>
                </c:pt>
                <c:pt idx="735">
                  <c:v>0.22211978827571688</c:v>
                </c:pt>
                <c:pt idx="736">
                  <c:v>0.22476534286986172</c:v>
                </c:pt>
                <c:pt idx="737">
                  <c:v>0.23015138267577684</c:v>
                </c:pt>
                <c:pt idx="738">
                  <c:v>0.24507726438763355</c:v>
                </c:pt>
                <c:pt idx="739">
                  <c:v>0.20466080782659457</c:v>
                </c:pt>
                <c:pt idx="740">
                  <c:v>0.20466080782659457</c:v>
                </c:pt>
                <c:pt idx="741">
                  <c:v>0.20466080782659457</c:v>
                </c:pt>
                <c:pt idx="742">
                  <c:v>0.19561105902791764</c:v>
                </c:pt>
                <c:pt idx="743">
                  <c:v>0.20356464430516064</c:v>
                </c:pt>
                <c:pt idx="744">
                  <c:v>0.1989312807025414</c:v>
                </c:pt>
                <c:pt idx="745">
                  <c:v>0.19105289195081054</c:v>
                </c:pt>
                <c:pt idx="746">
                  <c:v>0.19327642203036421</c:v>
                </c:pt>
                <c:pt idx="747">
                  <c:v>0.19327642203036421</c:v>
                </c:pt>
                <c:pt idx="748">
                  <c:v>0.19327642203036421</c:v>
                </c:pt>
                <c:pt idx="749">
                  <c:v>0.19270229618016632</c:v>
                </c:pt>
                <c:pt idx="750">
                  <c:v>0.18601364972145995</c:v>
                </c:pt>
                <c:pt idx="751">
                  <c:v>0.18566403599606818</c:v>
                </c:pt>
                <c:pt idx="752">
                  <c:v>0.17716542630163334</c:v>
                </c:pt>
                <c:pt idx="753">
                  <c:v>0.17568028332808283</c:v>
                </c:pt>
                <c:pt idx="754">
                  <c:v>0.17568028332808283</c:v>
                </c:pt>
                <c:pt idx="755">
                  <c:v>0.17568028332808283</c:v>
                </c:pt>
                <c:pt idx="756">
                  <c:v>0.18128459464580304</c:v>
                </c:pt>
                <c:pt idx="757">
                  <c:v>0.1691861246001123</c:v>
                </c:pt>
                <c:pt idx="758">
                  <c:v>0.18375613635741317</c:v>
                </c:pt>
                <c:pt idx="759">
                  <c:v>0.18657145837032774</c:v>
                </c:pt>
                <c:pt idx="760">
                  <c:v>0.20190154974574548</c:v>
                </c:pt>
                <c:pt idx="761">
                  <c:v>0.20190154974574548</c:v>
                </c:pt>
                <c:pt idx="762">
                  <c:v>0.20190154974574548</c:v>
                </c:pt>
                <c:pt idx="763">
                  <c:v>0.2070108279994043</c:v>
                </c:pt>
                <c:pt idx="764">
                  <c:v>0.22951465508594304</c:v>
                </c:pt>
                <c:pt idx="765">
                  <c:v>0.2346997995032014</c:v>
                </c:pt>
                <c:pt idx="766">
                  <c:v>0.23048910704516312</c:v>
                </c:pt>
                <c:pt idx="767">
                  <c:v>0.2205056136676764</c:v>
                </c:pt>
                <c:pt idx="768">
                  <c:v>0.2205056136676764</c:v>
                </c:pt>
                <c:pt idx="769">
                  <c:v>0.2205056136676764</c:v>
                </c:pt>
                <c:pt idx="770">
                  <c:v>0.22353299407956695</c:v>
                </c:pt>
                <c:pt idx="771">
                  <c:v>0.22103498242034614</c:v>
                </c:pt>
                <c:pt idx="772">
                  <c:v>0.21160067353998913</c:v>
                </c:pt>
                <c:pt idx="773">
                  <c:v>0.21176203949835126</c:v>
                </c:pt>
                <c:pt idx="774">
                  <c:v>0.1916504530267802</c:v>
                </c:pt>
                <c:pt idx="775">
                  <c:v>0.1916504530267802</c:v>
                </c:pt>
                <c:pt idx="776">
                  <c:v>0.1916504530267802</c:v>
                </c:pt>
                <c:pt idx="777">
                  <c:v>0.19336328133294067</c:v>
                </c:pt>
                <c:pt idx="778">
                  <c:v>0.20773771918226602</c:v>
                </c:pt>
                <c:pt idx="779">
                  <c:v>0.1940175988718953</c:v>
                </c:pt>
                <c:pt idx="780">
                  <c:v>0.1888990092298044</c:v>
                </c:pt>
                <c:pt idx="781">
                  <c:v>0.19005911077042348</c:v>
                </c:pt>
                <c:pt idx="782">
                  <c:v>0.19005911077042348</c:v>
                </c:pt>
                <c:pt idx="783">
                  <c:v>0.19005911077042348</c:v>
                </c:pt>
                <c:pt idx="784">
                  <c:v>0.20384003527976757</c:v>
                </c:pt>
                <c:pt idx="785">
                  <c:v>0.21379989316627412</c:v>
                </c:pt>
                <c:pt idx="786">
                  <c:v>0.2265588193840582</c:v>
                </c:pt>
                <c:pt idx="787">
                  <c:v>0.25465853597232413</c:v>
                </c:pt>
                <c:pt idx="788">
                  <c:v>0.26902923946225665</c:v>
                </c:pt>
                <c:pt idx="789">
                  <c:v>0.26902923946225665</c:v>
                </c:pt>
                <c:pt idx="790">
                  <c:v>0.26902923946225665</c:v>
                </c:pt>
                <c:pt idx="791">
                  <c:v>0.2676816533308075</c:v>
                </c:pt>
                <c:pt idx="792">
                  <c:v>0.2744488826276039</c:v>
                </c:pt>
                <c:pt idx="793">
                  <c:v>0.29063852889351205</c:v>
                </c:pt>
                <c:pt idx="794">
                  <c:v>0.2875466068684833</c:v>
                </c:pt>
                <c:pt idx="795">
                  <c:v>0.31450191096921243</c:v>
                </c:pt>
                <c:pt idx="796">
                  <c:v>0.31450191096921243</c:v>
                </c:pt>
                <c:pt idx="797">
                  <c:v>0.31450191096921243</c:v>
                </c:pt>
                <c:pt idx="798">
                  <c:v>0.3144233125588669</c:v>
                </c:pt>
                <c:pt idx="799">
                  <c:v>0.3479935613381362</c:v>
                </c:pt>
                <c:pt idx="800">
                  <c:v>0.3561034373430765</c:v>
                </c:pt>
                <c:pt idx="801">
                  <c:v>0.36274407911003026</c:v>
                </c:pt>
                <c:pt idx="802">
                  <c:v>0.37452150616362023</c:v>
                </c:pt>
                <c:pt idx="803">
                  <c:v>0.37452150616362023</c:v>
                </c:pt>
                <c:pt idx="804">
                  <c:v>0.37452150616362023</c:v>
                </c:pt>
                <c:pt idx="805">
                  <c:v>0.38258306881019744</c:v>
                </c:pt>
                <c:pt idx="806">
                  <c:v>0.38665570114090175</c:v>
                </c:pt>
                <c:pt idx="807">
                  <c:v>0.3933142978415183</c:v>
                </c:pt>
                <c:pt idx="808">
                  <c:v>0.3946625763001599</c:v>
                </c:pt>
                <c:pt idx="809">
                  <c:v>0.40283505386649</c:v>
                </c:pt>
                <c:pt idx="810">
                  <c:v>0.40283505386649</c:v>
                </c:pt>
                <c:pt idx="811">
                  <c:v>0.40283505386649</c:v>
                </c:pt>
                <c:pt idx="812">
                  <c:v>0.40403310211628707</c:v>
                </c:pt>
                <c:pt idx="813">
                  <c:v>0.41274805858066976</c:v>
                </c:pt>
                <c:pt idx="814">
                  <c:v>0.41498172545184864</c:v>
                </c:pt>
                <c:pt idx="815">
                  <c:v>0.4261217254256304</c:v>
                </c:pt>
                <c:pt idx="816">
                  <c:v>0.43574242617054115</c:v>
                </c:pt>
                <c:pt idx="817">
                  <c:v>0.43574242617054115</c:v>
                </c:pt>
                <c:pt idx="818">
                  <c:v>0.43574242617054115</c:v>
                </c:pt>
                <c:pt idx="819">
                  <c:v>0.4292442270029455</c:v>
                </c:pt>
                <c:pt idx="820">
                  <c:v>0.43071606732548307</c:v>
                </c:pt>
                <c:pt idx="821">
                  <c:v>0.43608034662330053</c:v>
                </c:pt>
                <c:pt idx="822">
                  <c:v>0.4520057146562899</c:v>
                </c:pt>
                <c:pt idx="823">
                  <c:v>0.46948367211351716</c:v>
                </c:pt>
                <c:pt idx="824">
                  <c:v>0.46948367211351716</c:v>
                </c:pt>
                <c:pt idx="825">
                  <c:v>0.46948367211351716</c:v>
                </c:pt>
                <c:pt idx="826">
                  <c:v>0.4668424515125007</c:v>
                </c:pt>
                <c:pt idx="827">
                  <c:v>0.48268024455630676</c:v>
                </c:pt>
                <c:pt idx="828">
                  <c:v>0.5064285461635967</c:v>
                </c:pt>
                <c:pt idx="829">
                  <c:v>0.5208971444574155</c:v>
                </c:pt>
                <c:pt idx="830">
                  <c:v>0.5215752228102719</c:v>
                </c:pt>
                <c:pt idx="831">
                  <c:v>0.5215752228102719</c:v>
                </c:pt>
                <c:pt idx="832">
                  <c:v>0.5215752228102719</c:v>
                </c:pt>
                <c:pt idx="833">
                  <c:v>0.5544060205383263</c:v>
                </c:pt>
                <c:pt idx="834">
                  <c:v>0.5648625832651288</c:v>
                </c:pt>
                <c:pt idx="835">
                  <c:v>0.5512323992494488</c:v>
                </c:pt>
                <c:pt idx="836">
                  <c:v>0.5813755163615877</c:v>
                </c:pt>
                <c:pt idx="837">
                  <c:v>0.5846398448422876</c:v>
                </c:pt>
                <c:pt idx="838">
                  <c:v>0.5846398448422876</c:v>
                </c:pt>
                <c:pt idx="839">
                  <c:v>0.5846398448422876</c:v>
                </c:pt>
                <c:pt idx="840">
                  <c:v>0.5914276072345528</c:v>
                </c:pt>
                <c:pt idx="841">
                  <c:v>0.5991344595522909</c:v>
                </c:pt>
                <c:pt idx="842">
                  <c:v>0.6047741157709927</c:v>
                </c:pt>
                <c:pt idx="843">
                  <c:v>0.6100460791043081</c:v>
                </c:pt>
                <c:pt idx="844">
                  <c:v>0.6255579620706537</c:v>
                </c:pt>
                <c:pt idx="845">
                  <c:v>0.6255579620706537</c:v>
                </c:pt>
                <c:pt idx="846">
                  <c:v>0.6255579620706537</c:v>
                </c:pt>
                <c:pt idx="847">
                  <c:v>0.6234673749857493</c:v>
                </c:pt>
                <c:pt idx="848">
                  <c:v>0.6110461658075841</c:v>
                </c:pt>
                <c:pt idx="849">
                  <c:v>0.5935934146783071</c:v>
                </c:pt>
                <c:pt idx="850">
                  <c:v>0.5930191277326176</c:v>
                </c:pt>
                <c:pt idx="851">
                  <c:v>0.5957489062361951</c:v>
                </c:pt>
                <c:pt idx="852">
                  <c:v>0.5957489062361951</c:v>
                </c:pt>
                <c:pt idx="853">
                  <c:v>0.5957489062361951</c:v>
                </c:pt>
                <c:pt idx="854">
                  <c:v>0.6121184673263855</c:v>
                </c:pt>
                <c:pt idx="855">
                  <c:v>0.6181768060816979</c:v>
                </c:pt>
                <c:pt idx="856">
                  <c:v>0.6272265472948453</c:v>
                </c:pt>
                <c:pt idx="857">
                  <c:v>0.630032637543382</c:v>
                </c:pt>
                <c:pt idx="858">
                  <c:v>0.6400027412279325</c:v>
                </c:pt>
                <c:pt idx="859">
                  <c:v>0.6400027412279325</c:v>
                </c:pt>
                <c:pt idx="860">
                  <c:v>0.6400027412279325</c:v>
                </c:pt>
                <c:pt idx="861">
                  <c:v>0.6374942973816091</c:v>
                </c:pt>
                <c:pt idx="862">
                  <c:v>0.6262825666073697</c:v>
                </c:pt>
                <c:pt idx="863">
                  <c:v>0.6230098361537759</c:v>
                </c:pt>
                <c:pt idx="864">
                  <c:v>0.6363351497925329</c:v>
                </c:pt>
                <c:pt idx="865">
                  <c:v>0.6584923255454798</c:v>
                </c:pt>
                <c:pt idx="866">
                  <c:v>0.6584923255454798</c:v>
                </c:pt>
                <c:pt idx="867">
                  <c:v>0.6584923255454798</c:v>
                </c:pt>
                <c:pt idx="868">
                  <c:v>0.6635838610334708</c:v>
                </c:pt>
                <c:pt idx="869">
                  <c:v>0.6721850595180869</c:v>
                </c:pt>
                <c:pt idx="870">
                  <c:v>0.6825837541635731</c:v>
                </c:pt>
                <c:pt idx="871">
                  <c:v>0.6996071602798688</c:v>
                </c:pt>
                <c:pt idx="872">
                  <c:v>0.7083327101062844</c:v>
                </c:pt>
                <c:pt idx="873">
                  <c:v>0.7083327101062844</c:v>
                </c:pt>
                <c:pt idx="874">
                  <c:v>0.7083327101062844</c:v>
                </c:pt>
                <c:pt idx="875">
                  <c:v>0.7255506914709928</c:v>
                </c:pt>
                <c:pt idx="876">
                  <c:v>0.7279685784852499</c:v>
                </c:pt>
                <c:pt idx="877">
                  <c:v>0.709401608748814</c:v>
                </c:pt>
                <c:pt idx="878">
                  <c:v>0.7277436884429183</c:v>
                </c:pt>
                <c:pt idx="879">
                  <c:v>0.7437629904808094</c:v>
                </c:pt>
                <c:pt idx="880">
                  <c:v>0.7437629904808094</c:v>
                </c:pt>
                <c:pt idx="881">
                  <c:v>0.7437629904808094</c:v>
                </c:pt>
                <c:pt idx="882">
                  <c:v>0.7535465589490136</c:v>
                </c:pt>
                <c:pt idx="883">
                  <c:v>0.7464131020077422</c:v>
                </c:pt>
                <c:pt idx="884">
                  <c:v>0.7512699098562827</c:v>
                </c:pt>
                <c:pt idx="885">
                  <c:v>0.7403726587391737</c:v>
                </c:pt>
                <c:pt idx="886">
                  <c:v>0.750218720641878</c:v>
                </c:pt>
                <c:pt idx="887">
                  <c:v>0.750218720641878</c:v>
                </c:pt>
                <c:pt idx="888">
                  <c:v>0.750218720641878</c:v>
                </c:pt>
                <c:pt idx="889">
                  <c:v>0.7498909323192808</c:v>
                </c:pt>
                <c:pt idx="890">
                  <c:v>0.7234854213663586</c:v>
                </c:pt>
                <c:pt idx="891">
                  <c:v>0.7362292952240552</c:v>
                </c:pt>
                <c:pt idx="892">
                  <c:v>0.7469229721462252</c:v>
                </c:pt>
                <c:pt idx="893">
                  <c:v>0.7125067839052608</c:v>
                </c:pt>
                <c:pt idx="894">
                  <c:v>0.7125067839052608</c:v>
                </c:pt>
                <c:pt idx="895">
                  <c:v>0.7125067839052608</c:v>
                </c:pt>
                <c:pt idx="896">
                  <c:v>0.610667924598375</c:v>
                </c:pt>
                <c:pt idx="897">
                  <c:v>0.48384090743133923</c:v>
                </c:pt>
                <c:pt idx="898">
                  <c:v>0.47485519486901673</c:v>
                </c:pt>
                <c:pt idx="899">
                  <c:v>0.5067526273048919</c:v>
                </c:pt>
                <c:pt idx="900">
                  <c:v>0.5079268029064288</c:v>
                </c:pt>
                <c:pt idx="901">
                  <c:v>0.5079268029064288</c:v>
                </c:pt>
                <c:pt idx="902">
                  <c:v>0.5079268029064288</c:v>
                </c:pt>
                <c:pt idx="903">
                  <c:v>0.5118611236261705</c:v>
                </c:pt>
                <c:pt idx="904">
                  <c:v>0.5158450476997634</c:v>
                </c:pt>
                <c:pt idx="905">
                  <c:v>0.524136474116319</c:v>
                </c:pt>
                <c:pt idx="906">
                  <c:v>0.5289538211886087</c:v>
                </c:pt>
                <c:pt idx="907">
                  <c:v>0.5709782117258173</c:v>
                </c:pt>
                <c:pt idx="908">
                  <c:v>0.5709782117258173</c:v>
                </c:pt>
                <c:pt idx="909">
                  <c:v>0.5709782117258173</c:v>
                </c:pt>
                <c:pt idx="910">
                  <c:v>0.5627739152325764</c:v>
                </c:pt>
                <c:pt idx="911">
                  <c:v>0.5623989244454854</c:v>
                </c:pt>
                <c:pt idx="912">
                  <c:v>0.5844091403277709</c:v>
                </c:pt>
                <c:pt idx="913">
                  <c:v>0.6071418734201619</c:v>
                </c:pt>
                <c:pt idx="914">
                  <c:v>0.6090540608400834</c:v>
                </c:pt>
                <c:pt idx="915">
                  <c:v>0.6090540608400834</c:v>
                </c:pt>
                <c:pt idx="916">
                  <c:v>0.6090540608400834</c:v>
                </c:pt>
                <c:pt idx="917">
                  <c:v>0.6106610834812067</c:v>
                </c:pt>
                <c:pt idx="918">
                  <c:v>0.6430819693778018</c:v>
                </c:pt>
                <c:pt idx="919">
                  <c:v>0.657030410478531</c:v>
                </c:pt>
                <c:pt idx="920">
                  <c:v>0.6574204391507279</c:v>
                </c:pt>
                <c:pt idx="921">
                  <c:v>0.6612934162721504</c:v>
                </c:pt>
                <c:pt idx="922">
                  <c:v>0.6612934162721504</c:v>
                </c:pt>
                <c:pt idx="923">
                  <c:v>0.6612934162721504</c:v>
                </c:pt>
                <c:pt idx="924">
                  <c:v>0.6798299973270769</c:v>
                </c:pt>
                <c:pt idx="925">
                  <c:v>0.7214437385250041</c:v>
                </c:pt>
                <c:pt idx="926">
                  <c:v>0.7467113481166205</c:v>
                </c:pt>
                <c:pt idx="927">
                  <c:v>0.7591389688283174</c:v>
                </c:pt>
                <c:pt idx="928">
                  <c:v>0.7733573236866293</c:v>
                </c:pt>
                <c:pt idx="929">
                  <c:v>0.7733573236866293</c:v>
                </c:pt>
                <c:pt idx="930">
                  <c:v>0.7733573236866293</c:v>
                </c:pt>
                <c:pt idx="931">
                  <c:v>0.7721155680646592</c:v>
                </c:pt>
                <c:pt idx="932">
                  <c:v>0.8111793115873578</c:v>
                </c:pt>
                <c:pt idx="933">
                  <c:v>0.733049510678615</c:v>
                </c:pt>
                <c:pt idx="934">
                  <c:v>0.7190358441565627</c:v>
                </c:pt>
                <c:pt idx="935">
                  <c:v>0.6892603638867147</c:v>
                </c:pt>
                <c:pt idx="936">
                  <c:v>0.6892603638867147</c:v>
                </c:pt>
                <c:pt idx="937">
                  <c:v>0.6892603638867147</c:v>
                </c:pt>
                <c:pt idx="938">
                  <c:v>0.6992680546002408</c:v>
                </c:pt>
                <c:pt idx="939">
                  <c:v>0.690741215705797</c:v>
                </c:pt>
                <c:pt idx="940">
                  <c:v>0.6779612721519837</c:v>
                </c:pt>
                <c:pt idx="941">
                  <c:v>0.6533005671210455</c:v>
                </c:pt>
                <c:pt idx="942">
                  <c:v>0.6705010378789265</c:v>
                </c:pt>
                <c:pt idx="943">
                  <c:v>0.6705010378789265</c:v>
                </c:pt>
                <c:pt idx="944">
                  <c:v>0.6705010378789265</c:v>
                </c:pt>
                <c:pt idx="945">
                  <c:v>0.6666367529605244</c:v>
                </c:pt>
                <c:pt idx="946">
                  <c:v>0.6654486439453893</c:v>
                </c:pt>
                <c:pt idx="947">
                  <c:v>0.6609022105871147</c:v>
                </c:pt>
                <c:pt idx="948">
                  <c:v>0.672542092115243</c:v>
                </c:pt>
                <c:pt idx="949">
                  <c:v>0.6584595846329484</c:v>
                </c:pt>
                <c:pt idx="950">
                  <c:v>0.6584595846329484</c:v>
                </c:pt>
                <c:pt idx="951">
                  <c:v>0.6584595846329484</c:v>
                </c:pt>
                <c:pt idx="952">
                  <c:v>0.6382763301322323</c:v>
                </c:pt>
                <c:pt idx="953">
                  <c:v>0.6392089182091536</c:v>
                </c:pt>
                <c:pt idx="954">
                  <c:v>0.6332497076714305</c:v>
                </c:pt>
                <c:pt idx="955">
                  <c:v>0.6403089001437829</c:v>
                </c:pt>
                <c:pt idx="956">
                  <c:v>0.6539383523986539</c:v>
                </c:pt>
                <c:pt idx="957">
                  <c:v>0.6539383523986539</c:v>
                </c:pt>
                <c:pt idx="958">
                  <c:v>0.6539383523986539</c:v>
                </c:pt>
                <c:pt idx="959">
                  <c:v>0.6737036402392993</c:v>
                </c:pt>
                <c:pt idx="960">
                  <c:v>0.7074743322106485</c:v>
                </c:pt>
                <c:pt idx="961">
                  <c:v>0.7063300260653125</c:v>
                </c:pt>
                <c:pt idx="962">
                  <c:v>0.7198744418590126</c:v>
                </c:pt>
                <c:pt idx="963">
                  <c:v>0.7490306412972749</c:v>
                </c:pt>
                <c:pt idx="964">
                  <c:v>0.7490306412972749</c:v>
                </c:pt>
                <c:pt idx="965">
                  <c:v>0.7490306412972749</c:v>
                </c:pt>
                <c:pt idx="966">
                  <c:v>0.7726221954226562</c:v>
                </c:pt>
                <c:pt idx="967">
                  <c:v>0.7510029939879088</c:v>
                </c:pt>
                <c:pt idx="968">
                  <c:v>0.7557651673635406</c:v>
                </c:pt>
                <c:pt idx="969">
                  <c:v>0.7767608319536681</c:v>
                </c:pt>
                <c:pt idx="970">
                  <c:v>0.8068359046227738</c:v>
                </c:pt>
                <c:pt idx="971">
                  <c:v>0.8068359046227738</c:v>
                </c:pt>
                <c:pt idx="972">
                  <c:v>0.8068359046227738</c:v>
                </c:pt>
                <c:pt idx="973">
                  <c:v>0.8227868654422139</c:v>
                </c:pt>
                <c:pt idx="974">
                  <c:v>0.840197021367838</c:v>
                </c:pt>
                <c:pt idx="975">
                  <c:v>0.8343358322179553</c:v>
                </c:pt>
                <c:pt idx="976">
                  <c:v>0.8608786633925669</c:v>
                </c:pt>
                <c:pt idx="977">
                  <c:v>0.8665557773639749</c:v>
                </c:pt>
                <c:pt idx="978">
                  <c:v>0.8665557773639749</c:v>
                </c:pt>
                <c:pt idx="979">
                  <c:v>0.8665557773639749</c:v>
                </c:pt>
                <c:pt idx="980">
                  <c:v>0.8688925818583981</c:v>
                </c:pt>
                <c:pt idx="981">
                  <c:v>0.7638947468538846</c:v>
                </c:pt>
                <c:pt idx="982">
                  <c:v>0.7357570398383619</c:v>
                </c:pt>
                <c:pt idx="983">
                  <c:v>0.7737698650738971</c:v>
                </c:pt>
                <c:pt idx="984">
                  <c:v>0.7538402993960098</c:v>
                </c:pt>
                <c:pt idx="985">
                  <c:v>0.7538402993960098</c:v>
                </c:pt>
                <c:pt idx="986">
                  <c:v>0.7538402993960098</c:v>
                </c:pt>
                <c:pt idx="987">
                  <c:v>0.7629924995089918</c:v>
                </c:pt>
                <c:pt idx="988">
                  <c:v>0.7952576205826996</c:v>
                </c:pt>
                <c:pt idx="989">
                  <c:v>0.7853214911461279</c:v>
                </c:pt>
                <c:pt idx="990">
                  <c:v>0.7913953888997882</c:v>
                </c:pt>
                <c:pt idx="991">
                  <c:v>0.8297547175191493</c:v>
                </c:pt>
                <c:pt idx="992">
                  <c:v>0.8297547175191493</c:v>
                </c:pt>
                <c:pt idx="993">
                  <c:v>0.8297547175191493</c:v>
                </c:pt>
                <c:pt idx="994">
                  <c:v>0.8424016019679714</c:v>
                </c:pt>
                <c:pt idx="995">
                  <c:v>0.8509959790243105</c:v>
                </c:pt>
                <c:pt idx="996">
                  <c:v>0.8460619269387382</c:v>
                </c:pt>
                <c:pt idx="997">
                  <c:v>0.8568470988670824</c:v>
                </c:pt>
                <c:pt idx="998">
                  <c:v>0.867791306771474</c:v>
                </c:pt>
                <c:pt idx="999">
                  <c:v>0.867791306771474</c:v>
                </c:pt>
                <c:pt idx="1000">
                  <c:v>0.867791306771474</c:v>
                </c:pt>
                <c:pt idx="1001">
                  <c:v>0.7735629030128985</c:v>
                </c:pt>
                <c:pt idx="1002">
                  <c:v>0.7878785238578805</c:v>
                </c:pt>
                <c:pt idx="1003">
                  <c:v>0.8197896569095096</c:v>
                </c:pt>
                <c:pt idx="1004">
                  <c:v>0.8303422520575663</c:v>
                </c:pt>
                <c:pt idx="1005">
                  <c:v>0.8177404573642566</c:v>
                </c:pt>
                <c:pt idx="1006">
                  <c:v>0.8177404573642566</c:v>
                </c:pt>
                <c:pt idx="1007">
                  <c:v>0.8177404573642566</c:v>
                </c:pt>
                <c:pt idx="1008">
                  <c:v>0.8447932221705832</c:v>
                </c:pt>
                <c:pt idx="1009">
                  <c:v>0.8328940842474823</c:v>
                </c:pt>
                <c:pt idx="1010">
                  <c:v>0.8421822671983783</c:v>
                </c:pt>
                <c:pt idx="1011">
                  <c:v>0.851279424469926</c:v>
                </c:pt>
                <c:pt idx="1012">
                  <c:v>0.8414425227767612</c:v>
                </c:pt>
                <c:pt idx="1013">
                  <c:v>0.8414425227767612</c:v>
                </c:pt>
                <c:pt idx="1014">
                  <c:v>0.8414425227767612</c:v>
                </c:pt>
                <c:pt idx="1015">
                  <c:v>0.8334274778674475</c:v>
                </c:pt>
                <c:pt idx="1016">
                  <c:v>0.8174769332074037</c:v>
                </c:pt>
                <c:pt idx="1017">
                  <c:v>0.8181464845955131</c:v>
                </c:pt>
                <c:pt idx="1018">
                  <c:v>0.7937083375873586</c:v>
                </c:pt>
                <c:pt idx="1019">
                  <c:v>0.7820422454619282</c:v>
                </c:pt>
                <c:pt idx="1020">
                  <c:v>0.7820422454619282</c:v>
                </c:pt>
                <c:pt idx="1021">
                  <c:v>0.7820422454619282</c:v>
                </c:pt>
                <c:pt idx="1022">
                  <c:v>0.7821809496299978</c:v>
                </c:pt>
                <c:pt idx="1023">
                  <c:v>0.7893960351775977</c:v>
                </c:pt>
                <c:pt idx="1024">
                  <c:v>0.8092334246848918</c:v>
                </c:pt>
                <c:pt idx="1025">
                  <c:v>0.8183727147453794</c:v>
                </c:pt>
                <c:pt idx="1026">
                  <c:v>0.8046172059138137</c:v>
                </c:pt>
                <c:pt idx="1027">
                  <c:v>0.8046172059138137</c:v>
                </c:pt>
                <c:pt idx="1028">
                  <c:v>0.8046172059138137</c:v>
                </c:pt>
                <c:pt idx="1029">
                  <c:v>0.6857556632603601</c:v>
                </c:pt>
                <c:pt idx="1030">
                  <c:v>0.6928387666946076</c:v>
                </c:pt>
                <c:pt idx="1031">
                  <c:v>0.7136779062338272</c:v>
                </c:pt>
                <c:pt idx="1032">
                  <c:v>0.7226662306628655</c:v>
                </c:pt>
                <c:pt idx="1033">
                  <c:v>0.7424224354014981</c:v>
                </c:pt>
                <c:pt idx="1034">
                  <c:v>0.7424224354014981</c:v>
                </c:pt>
                <c:pt idx="1035">
                  <c:v>0.7424224354014981</c:v>
                </c:pt>
                <c:pt idx="1036">
                  <c:v>0.7557911838639255</c:v>
                </c:pt>
                <c:pt idx="1037">
                  <c:v>0.7614740131104865</c:v>
                </c:pt>
                <c:pt idx="1038">
                  <c:v>0.7873672283514186</c:v>
                </c:pt>
                <c:pt idx="1039">
                  <c:v>0.8257750486890012</c:v>
                </c:pt>
                <c:pt idx="1040">
                  <c:v>0.8392225548201087</c:v>
                </c:pt>
                <c:pt idx="1041">
                  <c:v>0.8392225548201087</c:v>
                </c:pt>
                <c:pt idx="1042">
                  <c:v>0.8392225548201087</c:v>
                </c:pt>
                <c:pt idx="1043">
                  <c:v>0.8465983028633328</c:v>
                </c:pt>
                <c:pt idx="1044">
                  <c:v>0.8651884671358392</c:v>
                </c:pt>
                <c:pt idx="1045">
                  <c:v>0.8601127464216642</c:v>
                </c:pt>
                <c:pt idx="1046">
                  <c:v>0.8576110071683156</c:v>
                </c:pt>
                <c:pt idx="1047">
                  <c:v>0.8714457215781506</c:v>
                </c:pt>
                <c:pt idx="1048">
                  <c:v>0.8714457215781506</c:v>
                </c:pt>
                <c:pt idx="1049">
                  <c:v>0.8714457215781506</c:v>
                </c:pt>
                <c:pt idx="1050">
                  <c:v>0.8256399148778708</c:v>
                </c:pt>
                <c:pt idx="1051">
                  <c:v>0.8488284615862316</c:v>
                </c:pt>
                <c:pt idx="1052">
                  <c:v>0.8109320007172722</c:v>
                </c:pt>
                <c:pt idx="1053">
                  <c:v>0.8117289042724118</c:v>
                </c:pt>
                <c:pt idx="1054">
                  <c:v>0.8372728562032448</c:v>
                </c:pt>
                <c:pt idx="1055">
                  <c:v>0.8372728562032448</c:v>
                </c:pt>
                <c:pt idx="1056">
                  <c:v>0.8372728562032448</c:v>
                </c:pt>
                <c:pt idx="1057">
                  <c:v>0.8367300014803734</c:v>
                </c:pt>
                <c:pt idx="1058">
                  <c:v>0.834258801828363</c:v>
                </c:pt>
                <c:pt idx="1059">
                  <c:v>0.8822719962391019</c:v>
                </c:pt>
                <c:pt idx="1060">
                  <c:v>0.8229711941664006</c:v>
                </c:pt>
                <c:pt idx="1061">
                  <c:v>0.7762443812450168</c:v>
                </c:pt>
                <c:pt idx="1062">
                  <c:v>0.7762443812450168</c:v>
                </c:pt>
                <c:pt idx="1063">
                  <c:v>0.7762443812450168</c:v>
                </c:pt>
                <c:pt idx="1064">
                  <c:v>0.7155695376592142</c:v>
                </c:pt>
                <c:pt idx="1065">
                  <c:v>0.742619142446233</c:v>
                </c:pt>
                <c:pt idx="1066">
                  <c:v>0.7470154634290058</c:v>
                </c:pt>
                <c:pt idx="1067">
                  <c:v>0.778797352023807</c:v>
                </c:pt>
                <c:pt idx="1068">
                  <c:v>0.7979040545990284</c:v>
                </c:pt>
                <c:pt idx="1069">
                  <c:v>0.7979040545990284</c:v>
                </c:pt>
                <c:pt idx="1070">
                  <c:v>0.7979040545990284</c:v>
                </c:pt>
                <c:pt idx="1071">
                  <c:v>0.801216319049981</c:v>
                </c:pt>
                <c:pt idx="1072">
                  <c:v>0.8345061580876776</c:v>
                </c:pt>
                <c:pt idx="1073">
                  <c:v>0.834969536471885</c:v>
                </c:pt>
                <c:pt idx="1074">
                  <c:v>0.8717813630324605</c:v>
                </c:pt>
                <c:pt idx="1075">
                  <c:v>0.8883947488185573</c:v>
                </c:pt>
                <c:pt idx="1076">
                  <c:v>0.8883947488185573</c:v>
                </c:pt>
                <c:pt idx="1077">
                  <c:v>0.8883947488185573</c:v>
                </c:pt>
                <c:pt idx="1078">
                  <c:v>0.8900532863457016</c:v>
                </c:pt>
                <c:pt idx="1079">
                  <c:v>0.8528094831621829</c:v>
                </c:pt>
                <c:pt idx="1080">
                  <c:v>0.8648622686585672</c:v>
                </c:pt>
                <c:pt idx="1081">
                  <c:v>0.8689105794493763</c:v>
                </c:pt>
                <c:pt idx="1082">
                  <c:v>0.8995698840598072</c:v>
                </c:pt>
                <c:pt idx="1083">
                  <c:v>0.8995698840598072</c:v>
                </c:pt>
                <c:pt idx="1084">
                  <c:v>0.8995698840598072</c:v>
                </c:pt>
                <c:pt idx="1085">
                  <c:v>0.8928009275480235</c:v>
                </c:pt>
                <c:pt idx="1086">
                  <c:v>0.9151437953262036</c:v>
                </c:pt>
                <c:pt idx="1087">
                  <c:v>0.9025266565025298</c:v>
                </c:pt>
                <c:pt idx="1088">
                  <c:v>0.8793184832524876</c:v>
                </c:pt>
                <c:pt idx="1089">
                  <c:v>0.9047041785326748</c:v>
                </c:pt>
                <c:pt idx="1090">
                  <c:v>0.9047041785326748</c:v>
                </c:pt>
                <c:pt idx="1091">
                  <c:v>0.9047041785326748</c:v>
                </c:pt>
                <c:pt idx="1092">
                  <c:v>0.9058497537391812</c:v>
                </c:pt>
                <c:pt idx="1093">
                  <c:v>0.875511711320553</c:v>
                </c:pt>
                <c:pt idx="1094">
                  <c:v>0.8677249343362694</c:v>
                </c:pt>
                <c:pt idx="1095">
                  <c:v>0.8718309104186608</c:v>
                </c:pt>
                <c:pt idx="1096">
                  <c:v>0.8425069585325147</c:v>
                </c:pt>
                <c:pt idx="1097">
                  <c:v>0.8425069585325147</c:v>
                </c:pt>
                <c:pt idx="1098">
                  <c:v>0.8425069585325147</c:v>
                </c:pt>
                <c:pt idx="1099">
                  <c:v>0.86235597573205</c:v>
                </c:pt>
                <c:pt idx="1100">
                  <c:v>0.8633933477647142</c:v>
                </c:pt>
                <c:pt idx="1101">
                  <c:v>0.8897003535612078</c:v>
                </c:pt>
                <c:pt idx="1102">
                  <c:v>0.9058504928318745</c:v>
                </c:pt>
                <c:pt idx="1103">
                  <c:v>0.9058243345136341</c:v>
                </c:pt>
                <c:pt idx="1104">
                  <c:v>0.9058243345136341</c:v>
                </c:pt>
                <c:pt idx="1105">
                  <c:v>0.9058243345136341</c:v>
                </c:pt>
                <c:pt idx="1106">
                  <c:v>0.9143005528500332</c:v>
                </c:pt>
                <c:pt idx="1107">
                  <c:v>0.9215647319056108</c:v>
                </c:pt>
                <c:pt idx="1108">
                  <c:v>0.9183799670875832</c:v>
                </c:pt>
                <c:pt idx="1109">
                  <c:v>0.9535928486542644</c:v>
                </c:pt>
                <c:pt idx="1110">
                  <c:v>0.9148828249022884</c:v>
                </c:pt>
                <c:pt idx="1111">
                  <c:v>0.9148828249022884</c:v>
                </c:pt>
                <c:pt idx="1112">
                  <c:v>0.9148828249022884</c:v>
                </c:pt>
                <c:pt idx="1113">
                  <c:v>0.9495827624257449</c:v>
                </c:pt>
                <c:pt idx="1114">
                  <c:v>0.9683850725056848</c:v>
                </c:pt>
                <c:pt idx="1115">
                  <c:v>0.9621012499814439</c:v>
                </c:pt>
                <c:pt idx="1116">
                  <c:v>0.9934490287534237</c:v>
                </c:pt>
                <c:pt idx="1117">
                  <c:v>0.9640306722005787</c:v>
                </c:pt>
                <c:pt idx="1118">
                  <c:v>0.9640306722005787</c:v>
                </c:pt>
                <c:pt idx="1119">
                  <c:v>0.9640306722005787</c:v>
                </c:pt>
                <c:pt idx="1120">
                  <c:v>0.9723435351666105</c:v>
                </c:pt>
                <c:pt idx="1121">
                  <c:v>0.9619059919408695</c:v>
                </c:pt>
                <c:pt idx="1122">
                  <c:v>0.9466051401642543</c:v>
                </c:pt>
                <c:pt idx="1123">
                  <c:v>0.9340694201344006</c:v>
                </c:pt>
                <c:pt idx="1124">
                  <c:v>0.9677916342908517</c:v>
                </c:pt>
                <c:pt idx="1125">
                  <c:v>0.9677916342908517</c:v>
                </c:pt>
                <c:pt idx="1126">
                  <c:v>0.9677916342908517</c:v>
                </c:pt>
                <c:pt idx="1127">
                  <c:v>0.9580871611674813</c:v>
                </c:pt>
                <c:pt idx="1128">
                  <c:v>0.9675759438265037</c:v>
                </c:pt>
                <c:pt idx="1129">
                  <c:v>0.9786268743986275</c:v>
                </c:pt>
                <c:pt idx="1130">
                  <c:v>0.9689090829080793</c:v>
                </c:pt>
                <c:pt idx="1131">
                  <c:v>0.9911348703431235</c:v>
                </c:pt>
                <c:pt idx="1132">
                  <c:v>0.9911348703431235</c:v>
                </c:pt>
                <c:pt idx="1133">
                  <c:v>0.9911348703431235</c:v>
                </c:pt>
                <c:pt idx="1134">
                  <c:v>0.9887294887213542</c:v>
                </c:pt>
                <c:pt idx="1135">
                  <c:v>0.97091908931803</c:v>
                </c:pt>
                <c:pt idx="1136">
                  <c:v>0.9789237868524088</c:v>
                </c:pt>
                <c:pt idx="1137">
                  <c:v>0.9877143931471752</c:v>
                </c:pt>
                <c:pt idx="1138">
                  <c:v>1.003729092568685</c:v>
                </c:pt>
                <c:pt idx="1139">
                  <c:v>1.003729092568685</c:v>
                </c:pt>
                <c:pt idx="1140">
                  <c:v>1.003729092568685</c:v>
                </c:pt>
                <c:pt idx="1141">
                  <c:v>0.9850644263388384</c:v>
                </c:pt>
                <c:pt idx="1142">
                  <c:v>0.9935632840707698</c:v>
                </c:pt>
                <c:pt idx="1143">
                  <c:v>0.9691284133485265</c:v>
                </c:pt>
                <c:pt idx="1144">
                  <c:v>0.9694021816270946</c:v>
                </c:pt>
                <c:pt idx="1145">
                  <c:v>0.9722150300075816</c:v>
                </c:pt>
                <c:pt idx="1146">
                  <c:v>0.9722150300075816</c:v>
                </c:pt>
                <c:pt idx="1147">
                  <c:v>0.9722150300075816</c:v>
                </c:pt>
                <c:pt idx="1148">
                  <c:v>0.9770443705418415</c:v>
                </c:pt>
                <c:pt idx="1149">
                  <c:v>0.9818151754054507</c:v>
                </c:pt>
                <c:pt idx="1150">
                  <c:v>0.9743902736801955</c:v>
                </c:pt>
                <c:pt idx="1151">
                  <c:v>0.9460189592557102</c:v>
                </c:pt>
                <c:pt idx="1152">
                  <c:v>0.961742796458511</c:v>
                </c:pt>
                <c:pt idx="1153">
                  <c:v>0.961742796458511</c:v>
                </c:pt>
                <c:pt idx="1154">
                  <c:v>0.961742796458511</c:v>
                </c:pt>
                <c:pt idx="1155">
                  <c:v>0.9637548682886117</c:v>
                </c:pt>
                <c:pt idx="1156">
                  <c:v>0.9904468618131352</c:v>
                </c:pt>
                <c:pt idx="1157">
                  <c:v>1.0246389904766868</c:v>
                </c:pt>
                <c:pt idx="1158">
                  <c:v>1.0563314020888082</c:v>
                </c:pt>
                <c:pt idx="1159">
                  <c:v>1.0503666233556088</c:v>
                </c:pt>
                <c:pt idx="1160">
                  <c:v>1.0503666233556088</c:v>
                </c:pt>
                <c:pt idx="1161">
                  <c:v>1.0503666233556088</c:v>
                </c:pt>
                <c:pt idx="1162">
                  <c:v>1.074538420119738</c:v>
                </c:pt>
                <c:pt idx="1163">
                  <c:v>1.0442213282025383</c:v>
                </c:pt>
                <c:pt idx="1164">
                  <c:v>1.044760330395143</c:v>
                </c:pt>
                <c:pt idx="1165">
                  <c:v>1.0452950860499706</c:v>
                </c:pt>
                <c:pt idx="1166">
                  <c:v>1.0297680213007712</c:v>
                </c:pt>
                <c:pt idx="1167">
                  <c:v>1.0297680213007712</c:v>
                </c:pt>
                <c:pt idx="1168">
                  <c:v>1.0297680213007712</c:v>
                </c:pt>
                <c:pt idx="1169">
                  <c:v>1.048523453255001</c:v>
                </c:pt>
                <c:pt idx="1170">
                  <c:v>1.0477487185530512</c:v>
                </c:pt>
                <c:pt idx="1171">
                  <c:v>1.0609814298955342</c:v>
                </c:pt>
                <c:pt idx="1172">
                  <c:v>1.0724243419563533</c:v>
                </c:pt>
                <c:pt idx="1173">
                  <c:v>1.0720737361030626</c:v>
                </c:pt>
                <c:pt idx="1174">
                  <c:v>1.0720737361030626</c:v>
                </c:pt>
                <c:pt idx="1175">
                  <c:v>1.0720737361030626</c:v>
                </c:pt>
                <c:pt idx="1176">
                  <c:v>1.0825010834009414</c:v>
                </c:pt>
                <c:pt idx="1177">
                  <c:v>1.0828432222013582</c:v>
                </c:pt>
                <c:pt idx="1178">
                  <c:v>1.074805762681724</c:v>
                </c:pt>
                <c:pt idx="1179">
                  <c:v>1.0591683871215318</c:v>
                </c:pt>
                <c:pt idx="1180">
                  <c:v>1.0489764311098893</c:v>
                </c:pt>
                <c:pt idx="1181">
                  <c:v>1.0489764311098893</c:v>
                </c:pt>
                <c:pt idx="1182">
                  <c:v>1.0489764311098893</c:v>
                </c:pt>
                <c:pt idx="1183">
                  <c:v>1.046058554392559</c:v>
                </c:pt>
                <c:pt idx="1184">
                  <c:v>1.0526902497433355</c:v>
                </c:pt>
                <c:pt idx="1185">
                  <c:v>1.0735304444033664</c:v>
                </c:pt>
                <c:pt idx="1186">
                  <c:v>1.0785813834255298</c:v>
                </c:pt>
                <c:pt idx="1187">
                  <c:v>1.0811028885822997</c:v>
                </c:pt>
                <c:pt idx="1188">
                  <c:v>1.0811028885822997</c:v>
                </c:pt>
                <c:pt idx="1189">
                  <c:v>1.0811028885822997</c:v>
                </c:pt>
                <c:pt idx="1190">
                  <c:v>1.0894358504109607</c:v>
                </c:pt>
                <c:pt idx="1191">
                  <c:v>1.0808611036530151</c:v>
                </c:pt>
                <c:pt idx="1192">
                  <c:v>1.1129386468868834</c:v>
                </c:pt>
                <c:pt idx="1193">
                  <c:v>1.0962719803549175</c:v>
                </c:pt>
                <c:pt idx="1194">
                  <c:v>1.1051946718068972</c:v>
                </c:pt>
                <c:pt idx="1195">
                  <c:v>1.1051946718068972</c:v>
                </c:pt>
                <c:pt idx="1196">
                  <c:v>1.1051946718068972</c:v>
                </c:pt>
                <c:pt idx="1197">
                  <c:v>1.1062768772596052</c:v>
                </c:pt>
                <c:pt idx="1198">
                  <c:v>1.1062359110230475</c:v>
                </c:pt>
                <c:pt idx="1199">
                  <c:v>1.0449214985431827</c:v>
                </c:pt>
                <c:pt idx="1200">
                  <c:v>1.0415364690300555</c:v>
                </c:pt>
                <c:pt idx="1201">
                  <c:v>1.0578427079392787</c:v>
                </c:pt>
                <c:pt idx="1202">
                  <c:v>1.0578427079392787</c:v>
                </c:pt>
                <c:pt idx="1203">
                  <c:v>1.0578427079392787</c:v>
                </c:pt>
                <c:pt idx="1204">
                  <c:v>1.0618795427536067</c:v>
                </c:pt>
                <c:pt idx="1205">
                  <c:v>1.0900081625312499</c:v>
                </c:pt>
                <c:pt idx="1206">
                  <c:v>1.0863688216029517</c:v>
                </c:pt>
                <c:pt idx="1207">
                  <c:v>1.0881096724244625</c:v>
                </c:pt>
                <c:pt idx="1208">
                  <c:v>1.0701882849136082</c:v>
                </c:pt>
                <c:pt idx="1209">
                  <c:v>1.0701882849136082</c:v>
                </c:pt>
                <c:pt idx="1210">
                  <c:v>1.0701882849136082</c:v>
                </c:pt>
                <c:pt idx="1211">
                  <c:v>1.058420543601768</c:v>
                </c:pt>
                <c:pt idx="1212">
                  <c:v>1.0583371273295756</c:v>
                </c:pt>
                <c:pt idx="1213">
                  <c:v>1.0583371273295756</c:v>
                </c:pt>
                <c:pt idx="1214">
                  <c:v>1.0543079765307568</c:v>
                </c:pt>
                <c:pt idx="1215">
                  <c:v>1.075245721858705</c:v>
                </c:pt>
                <c:pt idx="1216">
                  <c:v>1.075245721858705</c:v>
                </c:pt>
                <c:pt idx="1217">
                  <c:v>1.075245721858705</c:v>
                </c:pt>
                <c:pt idx="1218">
                  <c:v>1.0879057372041907</c:v>
                </c:pt>
                <c:pt idx="1219">
                  <c:v>1.0768750345999107</c:v>
                </c:pt>
                <c:pt idx="1220">
                  <c:v>1.0890501683755796</c:v>
                </c:pt>
                <c:pt idx="1221">
                  <c:v>1.0828777807534702</c:v>
                </c:pt>
                <c:pt idx="1222">
                  <c:v>1.034183041292899</c:v>
                </c:pt>
                <c:pt idx="1223">
                  <c:v>1.034183041292899</c:v>
                </c:pt>
                <c:pt idx="1224">
                  <c:v>1.034183041292899</c:v>
                </c:pt>
                <c:pt idx="1225">
                  <c:v>1.0318137763291992</c:v>
                </c:pt>
                <c:pt idx="1226">
                  <c:v>1.0220523986917258</c:v>
                </c:pt>
                <c:pt idx="1227">
                  <c:v>1.0716237988600952</c:v>
                </c:pt>
                <c:pt idx="1228">
                  <c:v>1.072747774858878</c:v>
                </c:pt>
                <c:pt idx="1229">
                  <c:v>1.0920835722495497</c:v>
                </c:pt>
                <c:pt idx="1230">
                  <c:v>1.0920835722495497</c:v>
                </c:pt>
                <c:pt idx="1231">
                  <c:v>1.0920835722495497</c:v>
                </c:pt>
                <c:pt idx="1232">
                  <c:v>1.0907108972379036</c:v>
                </c:pt>
                <c:pt idx="1233">
                  <c:v>1.1194355382385814</c:v>
                </c:pt>
                <c:pt idx="1234">
                  <c:v>1.126065860114934</c:v>
                </c:pt>
                <c:pt idx="1235">
                  <c:v>1.14203234675989</c:v>
                </c:pt>
                <c:pt idx="1236">
                  <c:v>1.138815016909645</c:v>
                </c:pt>
                <c:pt idx="1237">
                  <c:v>1.138815016909645</c:v>
                </c:pt>
                <c:pt idx="1238">
                  <c:v>1.138815016909645</c:v>
                </c:pt>
                <c:pt idx="1239">
                  <c:v>1.104390633792311</c:v>
                </c:pt>
                <c:pt idx="1240">
                  <c:v>1.1300046858408832</c:v>
                </c:pt>
                <c:pt idx="1241">
                  <c:v>1.1253631868963332</c:v>
                </c:pt>
                <c:pt idx="1242">
                  <c:v>1.1451583465673054</c:v>
                </c:pt>
                <c:pt idx="1243">
                  <c:v>1.130721037641428</c:v>
                </c:pt>
                <c:pt idx="1244">
                  <c:v>1.130721037641428</c:v>
                </c:pt>
                <c:pt idx="1245">
                  <c:v>1.130721037641428</c:v>
                </c:pt>
                <c:pt idx="1246">
                  <c:v>1.1499664411618613</c:v>
                </c:pt>
                <c:pt idx="1247">
                  <c:v>1.1238114292840957</c:v>
                </c:pt>
                <c:pt idx="1248">
                  <c:v>1.1575469000708152</c:v>
                </c:pt>
                <c:pt idx="1249">
                  <c:v>1.1581624697313595</c:v>
                </c:pt>
                <c:pt idx="1250">
                  <c:v>1.1445601902440332</c:v>
                </c:pt>
                <c:pt idx="1251">
                  <c:v>1.1445601902440332</c:v>
                </c:pt>
                <c:pt idx="1252">
                  <c:v>1.1445601902440332</c:v>
                </c:pt>
                <c:pt idx="1253">
                  <c:v>1.1633641272180921</c:v>
                </c:pt>
                <c:pt idx="1254">
                  <c:v>1.1557409835226267</c:v>
                </c:pt>
                <c:pt idx="1255">
                  <c:v>1.1514515556149272</c:v>
                </c:pt>
                <c:pt idx="1256">
                  <c:v>1.1774062652869972</c:v>
                </c:pt>
                <c:pt idx="1257">
                  <c:v>1.1801825018784209</c:v>
                </c:pt>
                <c:pt idx="1258">
                  <c:v>1.1801825018784209</c:v>
                </c:pt>
                <c:pt idx="1259">
                  <c:v>1.1801825018784209</c:v>
                </c:pt>
                <c:pt idx="1260">
                  <c:v>1.185920490484464</c:v>
                </c:pt>
                <c:pt idx="1261">
                  <c:v>1.1974636628140636</c:v>
                </c:pt>
                <c:pt idx="1262">
                  <c:v>1.188505923009337</c:v>
                </c:pt>
                <c:pt idx="1263">
                  <c:v>1.1985774266688618</c:v>
                </c:pt>
                <c:pt idx="1264">
                  <c:v>1.1651988822183026</c:v>
                </c:pt>
                <c:pt idx="1265">
                  <c:v>1.1651988822183026</c:v>
                </c:pt>
                <c:pt idx="1266">
                  <c:v>1.1651988822183026</c:v>
                </c:pt>
                <c:pt idx="1267">
                  <c:v>1.1550727009791446</c:v>
                </c:pt>
                <c:pt idx="1268">
                  <c:v>1.1542337111702285</c:v>
                </c:pt>
                <c:pt idx="1269">
                  <c:v>1.1571762017776912</c:v>
                </c:pt>
                <c:pt idx="1270">
                  <c:v>1.1342562665134173</c:v>
                </c:pt>
                <c:pt idx="1271">
                  <c:v>1.1611570718837991</c:v>
                </c:pt>
                <c:pt idx="1272">
                  <c:v>1.1611570718837991</c:v>
                </c:pt>
                <c:pt idx="1273">
                  <c:v>1.1611570718837991</c:v>
                </c:pt>
                <c:pt idx="1274">
                  <c:v>1.1466123350322701</c:v>
                </c:pt>
                <c:pt idx="1275">
                  <c:v>1.1374108703186443</c:v>
                </c:pt>
                <c:pt idx="1276">
                  <c:v>1.170716924372139</c:v>
                </c:pt>
                <c:pt idx="1277">
                  <c:v>1.1392706842012048</c:v>
                </c:pt>
                <c:pt idx="1278">
                  <c:v>1.1683504038566048</c:v>
                </c:pt>
                <c:pt idx="1279">
                  <c:v>1.1683504038566048</c:v>
                </c:pt>
                <c:pt idx="1280">
                  <c:v>1.1683504038566048</c:v>
                </c:pt>
                <c:pt idx="1281">
                  <c:v>1.0890460333905452</c:v>
                </c:pt>
                <c:pt idx="1282">
                  <c:v>1.0837893955544908</c:v>
                </c:pt>
                <c:pt idx="1283">
                  <c:v>1.0966412096165667</c:v>
                </c:pt>
                <c:pt idx="1284">
                  <c:v>1.0704922713315779</c:v>
                </c:pt>
                <c:pt idx="1285">
                  <c:v>1.1138533877807313</c:v>
                </c:pt>
                <c:pt idx="1286">
                  <c:v>1.1138533877807313</c:v>
                </c:pt>
                <c:pt idx="1287">
                  <c:v>1.1138533877807313</c:v>
                </c:pt>
                <c:pt idx="1288">
                  <c:v>1.1323497030980434</c:v>
                </c:pt>
                <c:pt idx="1289">
                  <c:v>1.127084923608579</c:v>
                </c:pt>
                <c:pt idx="1290">
                  <c:v>1.1465492707068683</c:v>
                </c:pt>
                <c:pt idx="1291">
                  <c:v>1.140547251100319</c:v>
                </c:pt>
                <c:pt idx="1292">
                  <c:v>1.1391966455074023</c:v>
                </c:pt>
                <c:pt idx="1293">
                  <c:v>1.1391966455074023</c:v>
                </c:pt>
                <c:pt idx="1294">
                  <c:v>1.1391966455074023</c:v>
                </c:pt>
                <c:pt idx="1295">
                  <c:v>1.1709074264798547</c:v>
                </c:pt>
                <c:pt idx="1296">
                  <c:v>1.1755138822480578</c:v>
                </c:pt>
                <c:pt idx="1297">
                  <c:v>1.1576130429187086</c:v>
                </c:pt>
                <c:pt idx="1298">
                  <c:v>1.1436240028416709</c:v>
                </c:pt>
                <c:pt idx="1299">
                  <c:v>1.1021337117574728</c:v>
                </c:pt>
                <c:pt idx="1300">
                  <c:v>1.1021337117574728</c:v>
                </c:pt>
                <c:pt idx="1301">
                  <c:v>1.1021337117574728</c:v>
                </c:pt>
                <c:pt idx="1302">
                  <c:v>1.0640075695381954</c:v>
                </c:pt>
                <c:pt idx="1303">
                  <c:v>1.0713143282524444</c:v>
                </c:pt>
                <c:pt idx="1304">
                  <c:v>1.075673322376547</c:v>
                </c:pt>
                <c:pt idx="1305">
                  <c:v>0.9804096308323391</c:v>
                </c:pt>
                <c:pt idx="1306">
                  <c:v>0.8531651229093125</c:v>
                </c:pt>
                <c:pt idx="1307">
                  <c:v>0.8531651229093125</c:v>
                </c:pt>
                <c:pt idx="1308">
                  <c:v>0.8531651229093125</c:v>
                </c:pt>
                <c:pt idx="1309">
                  <c:v>0.8432612622034721</c:v>
                </c:pt>
                <c:pt idx="1310">
                  <c:v>0.8249715008739078</c:v>
                </c:pt>
                <c:pt idx="1311">
                  <c:v>0.975262742789843</c:v>
                </c:pt>
                <c:pt idx="1312">
                  <c:v>0.9303312333520866</c:v>
                </c:pt>
                <c:pt idx="1313">
                  <c:v>0.9726578041630818</c:v>
                </c:pt>
                <c:pt idx="1314">
                  <c:v>0.9726578041630818</c:v>
                </c:pt>
                <c:pt idx="1315">
                  <c:v>0.9726578041630818</c:v>
                </c:pt>
                <c:pt idx="1316">
                  <c:v>1.0007900199350126</c:v>
                </c:pt>
                <c:pt idx="1317">
                  <c:v>1.009808889969793</c:v>
                </c:pt>
                <c:pt idx="1318">
                  <c:v>0.9814903703939912</c:v>
                </c:pt>
                <c:pt idx="1319">
                  <c:v>0.9903629796103948</c:v>
                </c:pt>
                <c:pt idx="1320">
                  <c:v>0.9903629796103948</c:v>
                </c:pt>
                <c:pt idx="1321">
                  <c:v>0.9903629796103948</c:v>
                </c:pt>
                <c:pt idx="1322">
                  <c:v>0.9903629796103948</c:v>
                </c:pt>
                <c:pt idx="1323">
                  <c:v>0.9582027725013529</c:v>
                </c:pt>
                <c:pt idx="1324">
                  <c:v>1.0077269719262594</c:v>
                </c:pt>
                <c:pt idx="1325">
                  <c:v>1.0332981557343395</c:v>
                </c:pt>
                <c:pt idx="1326">
                  <c:v>1.0630600341474712</c:v>
                </c:pt>
                <c:pt idx="1327">
                  <c:v>1.055474757758664</c:v>
                </c:pt>
                <c:pt idx="1328">
                  <c:v>1.055474757758664</c:v>
                </c:pt>
                <c:pt idx="1329">
                  <c:v>1.055474757758664</c:v>
                </c:pt>
                <c:pt idx="1330">
                  <c:v>1.04604368826599</c:v>
                </c:pt>
                <c:pt idx="1331">
                  <c:v>1.05705384392538</c:v>
                </c:pt>
                <c:pt idx="1332">
                  <c:v>1.0596019720962273</c:v>
                </c:pt>
                <c:pt idx="1333">
                  <c:v>1.056157447630465</c:v>
                </c:pt>
                <c:pt idx="1334">
                  <c:v>1.097908590059689</c:v>
                </c:pt>
                <c:pt idx="1335">
                  <c:v>1.097908590059689</c:v>
                </c:pt>
                <c:pt idx="1336">
                  <c:v>1.097908590059689</c:v>
                </c:pt>
                <c:pt idx="1337">
                  <c:v>1.0869942489279856</c:v>
                </c:pt>
                <c:pt idx="1338">
                  <c:v>1.0546058279154935</c:v>
                </c:pt>
                <c:pt idx="1339">
                  <c:v>1.0168579430409173</c:v>
                </c:pt>
                <c:pt idx="1340">
                  <c:v>1.0012700936750978</c:v>
                </c:pt>
                <c:pt idx="1341">
                  <c:v>0.9868707308505245</c:v>
                </c:pt>
                <c:pt idx="1342">
                  <c:v>0.9868707308505245</c:v>
                </c:pt>
                <c:pt idx="1343">
                  <c:v>0.9868707308505245</c:v>
                </c:pt>
                <c:pt idx="1344">
                  <c:v>1.0204467344175114</c:v>
                </c:pt>
                <c:pt idx="1345">
                  <c:v>1.0292042952086287</c:v>
                </c:pt>
                <c:pt idx="1346">
                  <c:v>1.0471885595661066</c:v>
                </c:pt>
                <c:pt idx="1347">
                  <c:v>1.071496507201282</c:v>
                </c:pt>
                <c:pt idx="1348">
                  <c:v>1.086539831085045</c:v>
                </c:pt>
                <c:pt idx="1349">
                  <c:v>1.086539831085045</c:v>
                </c:pt>
                <c:pt idx="1350">
                  <c:v>1.086539831085045</c:v>
                </c:pt>
                <c:pt idx="1351">
                  <c:v>1.1079699406847916</c:v>
                </c:pt>
                <c:pt idx="1352">
                  <c:v>1.1108652882348955</c:v>
                </c:pt>
                <c:pt idx="1353">
                  <c:v>1.0934900519786441</c:v>
                </c:pt>
                <c:pt idx="1354">
                  <c:v>1.099888057806393</c:v>
                </c:pt>
                <c:pt idx="1355">
                  <c:v>1.0973579633134185</c:v>
                </c:pt>
                <c:pt idx="1356">
                  <c:v>1.0973579633134185</c:v>
                </c:pt>
                <c:pt idx="1357">
                  <c:v>1.0973579633134185</c:v>
                </c:pt>
                <c:pt idx="1358">
                  <c:v>1.102010760964201</c:v>
                </c:pt>
                <c:pt idx="1359">
                  <c:v>1.1624977059577306</c:v>
                </c:pt>
                <c:pt idx="1360">
                  <c:v>1.0999688536553616</c:v>
                </c:pt>
                <c:pt idx="1361">
                  <c:v>1.0615991617307263</c:v>
                </c:pt>
                <c:pt idx="1362">
                  <c:v>1.0656533344761758</c:v>
                </c:pt>
                <c:pt idx="1363">
                  <c:v>1.0656533344761758</c:v>
                </c:pt>
                <c:pt idx="1364">
                  <c:v>1.0656533344761758</c:v>
                </c:pt>
                <c:pt idx="1365">
                  <c:v>1.083047555345662</c:v>
                </c:pt>
                <c:pt idx="1366">
                  <c:v>1.1002034554887965</c:v>
                </c:pt>
                <c:pt idx="1367">
                  <c:v>1.1200195043399637</c:v>
                </c:pt>
                <c:pt idx="1368">
                  <c:v>1.0276924824514682</c:v>
                </c:pt>
                <c:pt idx="1369">
                  <c:v>1.0641832638802864</c:v>
                </c:pt>
                <c:pt idx="1370">
                  <c:v>1.0641832638802864</c:v>
                </c:pt>
                <c:pt idx="1371">
                  <c:v>1.0641832638802864</c:v>
                </c:pt>
                <c:pt idx="1372">
                  <c:v>0.9667584724874227</c:v>
                </c:pt>
                <c:pt idx="1373">
                  <c:v>0.9808003278720403</c:v>
                </c:pt>
                <c:pt idx="1374">
                  <c:v>0.9933365264890992</c:v>
                </c:pt>
                <c:pt idx="1375">
                  <c:v>0.9786060547012192</c:v>
                </c:pt>
                <c:pt idx="1376">
                  <c:v>0.9389888722481889</c:v>
                </c:pt>
                <c:pt idx="1377">
                  <c:v>0.9389888722481889</c:v>
                </c:pt>
                <c:pt idx="1378">
                  <c:v>0.9389888722481889</c:v>
                </c:pt>
                <c:pt idx="1379">
                  <c:v>0.9160547668428305</c:v>
                </c:pt>
                <c:pt idx="1380">
                  <c:v>0.9100519286414381</c:v>
                </c:pt>
                <c:pt idx="1381">
                  <c:v>0.9183170062121095</c:v>
                </c:pt>
                <c:pt idx="1382">
                  <c:v>0.8890159286914574</c:v>
                </c:pt>
                <c:pt idx="1383">
                  <c:v>0.8365893544887266</c:v>
                </c:pt>
                <c:pt idx="1384">
                  <c:v>0.8365893544887266</c:v>
                </c:pt>
                <c:pt idx="1385">
                  <c:v>0.8365893544887266</c:v>
                </c:pt>
                <c:pt idx="1386">
                  <c:v>0.830426842528821</c:v>
                </c:pt>
                <c:pt idx="1387">
                  <c:v>0.862561303989599</c:v>
                </c:pt>
                <c:pt idx="1388">
                  <c:v>0.875524195660462</c:v>
                </c:pt>
                <c:pt idx="1389">
                  <c:v>0.8947991620659475</c:v>
                </c:pt>
                <c:pt idx="1390">
                  <c:v>0.911588269508663</c:v>
                </c:pt>
                <c:pt idx="1391">
                  <c:v>0.911588269508663</c:v>
                </c:pt>
                <c:pt idx="1392">
                  <c:v>0.911588269508663</c:v>
                </c:pt>
                <c:pt idx="1393">
                  <c:v>0.9295287409474364</c:v>
                </c:pt>
                <c:pt idx="1394">
                  <c:v>0.9462834157434103</c:v>
                </c:pt>
                <c:pt idx="1395">
                  <c:v>0.9542740061070027</c:v>
                </c:pt>
                <c:pt idx="1396">
                  <c:v>0.9724841581766566</c:v>
                </c:pt>
                <c:pt idx="1397">
                  <c:v>0.9862057433367089</c:v>
                </c:pt>
                <c:pt idx="1398">
                  <c:v>0.9862057433367089</c:v>
                </c:pt>
                <c:pt idx="1399">
                  <c:v>0.9862057433367089</c:v>
                </c:pt>
                <c:pt idx="1400">
                  <c:v>0.9767028241148183</c:v>
                </c:pt>
                <c:pt idx="1401">
                  <c:v>0.9804033594009127</c:v>
                </c:pt>
                <c:pt idx="1402">
                  <c:v>0.9896688405261929</c:v>
                </c:pt>
                <c:pt idx="1403">
                  <c:v>1.0031863145245183</c:v>
                </c:pt>
                <c:pt idx="1404">
                  <c:v>0.9206482145199228</c:v>
                </c:pt>
                <c:pt idx="1405">
                  <c:v>0.9206482145199228</c:v>
                </c:pt>
                <c:pt idx="1406">
                  <c:v>0.9206482145199228</c:v>
                </c:pt>
                <c:pt idx="1407">
                  <c:v>0.8989734719703351</c:v>
                </c:pt>
                <c:pt idx="1408">
                  <c:v>0.8956648605662982</c:v>
                </c:pt>
                <c:pt idx="1409">
                  <c:v>0.8734283559365144</c:v>
                </c:pt>
                <c:pt idx="1410">
                  <c:v>0.87806066514503</c:v>
                </c:pt>
                <c:pt idx="1411">
                  <c:v>0.9210515447852081</c:v>
                </c:pt>
                <c:pt idx="1412">
                  <c:v>0.9210515447852081</c:v>
                </c:pt>
                <c:pt idx="1413">
                  <c:v>0.9210515447852081</c:v>
                </c:pt>
                <c:pt idx="1414">
                  <c:v>0.9018390342207132</c:v>
                </c:pt>
                <c:pt idx="1415">
                  <c:v>0.8989103187295626</c:v>
                </c:pt>
                <c:pt idx="1416">
                  <c:v>0.934450069151413</c:v>
                </c:pt>
                <c:pt idx="1417">
                  <c:v>0.9388036993531914</c:v>
                </c:pt>
                <c:pt idx="1418">
                  <c:v>0.9509020265999426</c:v>
                </c:pt>
                <c:pt idx="1419">
                  <c:v>0.9509020265999426</c:v>
                </c:pt>
                <c:pt idx="1420">
                  <c:v>0.9509020265999426</c:v>
                </c:pt>
                <c:pt idx="1421">
                  <c:v>0.9387626473326001</c:v>
                </c:pt>
                <c:pt idx="1422">
                  <c:v>0.9497838686264757</c:v>
                </c:pt>
                <c:pt idx="1423">
                  <c:v>0.9047917372726269</c:v>
                </c:pt>
                <c:pt idx="1424">
                  <c:v>0.8942357363169824</c:v>
                </c:pt>
                <c:pt idx="1425">
                  <c:v>0.8687592662634804</c:v>
                </c:pt>
                <c:pt idx="1426">
                  <c:v>0.8687592662634804</c:v>
                </c:pt>
                <c:pt idx="1427">
                  <c:v>0.8687592662634804</c:v>
                </c:pt>
                <c:pt idx="1428">
                  <c:v>0.8591615382975735</c:v>
                </c:pt>
                <c:pt idx="1429">
                  <c:v>0.8854189835401372</c:v>
                </c:pt>
                <c:pt idx="1430">
                  <c:v>0.9102636349388638</c:v>
                </c:pt>
                <c:pt idx="1431">
                  <c:v>0.9141600440518822</c:v>
                </c:pt>
                <c:pt idx="1432">
                  <c:v>0.9407571995029191</c:v>
                </c:pt>
                <c:pt idx="1433">
                  <c:v>0.9407571995029191</c:v>
                </c:pt>
                <c:pt idx="1434">
                  <c:v>0.9407571995029191</c:v>
                </c:pt>
                <c:pt idx="1435">
                  <c:v>0.9303766146367767</c:v>
                </c:pt>
                <c:pt idx="1436">
                  <c:v>0.9611848528445897</c:v>
                </c:pt>
                <c:pt idx="1437">
                  <c:v>0.9548214142649951</c:v>
                </c:pt>
                <c:pt idx="1438">
                  <c:v>0.9483603069041735</c:v>
                </c:pt>
                <c:pt idx="1439">
                  <c:v>0.9483196878004061</c:v>
                </c:pt>
                <c:pt idx="1440">
                  <c:v>0.9483196878004061</c:v>
                </c:pt>
                <c:pt idx="1441">
                  <c:v>0.9483196878004061</c:v>
                </c:pt>
                <c:pt idx="1442">
                  <c:v>0.9577992543287992</c:v>
                </c:pt>
                <c:pt idx="1443">
                  <c:v>0.9585358738949448</c:v>
                </c:pt>
                <c:pt idx="1444">
                  <c:v>0.9568855858821943</c:v>
                </c:pt>
                <c:pt idx="1445">
                  <c:v>0.9523755486808456</c:v>
                </c:pt>
                <c:pt idx="1446">
                  <c:v>0.9677063523185212</c:v>
                </c:pt>
                <c:pt idx="1447">
                  <c:v>0.9677063523185212</c:v>
                </c:pt>
                <c:pt idx="1448">
                  <c:v>0.9677063523185212</c:v>
                </c:pt>
                <c:pt idx="1449">
                  <c:v>0.9341194979533387</c:v>
                </c:pt>
                <c:pt idx="1450">
                  <c:v>0.9729492465088314</c:v>
                </c:pt>
                <c:pt idx="1451">
                  <c:v>0.9763819803561671</c:v>
                </c:pt>
                <c:pt idx="1452">
                  <c:v>0.9889782379772283</c:v>
                </c:pt>
                <c:pt idx="1453">
                  <c:v>0.9817807212251715</c:v>
                </c:pt>
                <c:pt idx="1454">
                  <c:v>0.9817807212251715</c:v>
                </c:pt>
                <c:pt idx="1455">
                  <c:v>0.9817807212251715</c:v>
                </c:pt>
                <c:pt idx="1456">
                  <c:v>0.992692987866918</c:v>
                </c:pt>
                <c:pt idx="1457">
                  <c:v>0.984402320939396</c:v>
                </c:pt>
                <c:pt idx="1458">
                  <c:v>0.9993110378095615</c:v>
                </c:pt>
                <c:pt idx="1459">
                  <c:v>1.0201500637650902</c:v>
                </c:pt>
                <c:pt idx="1460">
                  <c:v>1.0239016904041165</c:v>
                </c:pt>
                <c:pt idx="1461">
                  <c:v>1.0239016904041165</c:v>
                </c:pt>
                <c:pt idx="1462">
                  <c:v>1.0239016904041165</c:v>
                </c:pt>
                <c:pt idx="1463">
                  <c:v>1.0345700403279379</c:v>
                </c:pt>
                <c:pt idx="1464">
                  <c:v>1.0451030382544815</c:v>
                </c:pt>
                <c:pt idx="1465">
                  <c:v>1.0562045936057896</c:v>
                </c:pt>
                <c:pt idx="1466">
                  <c:v>1.0933253385927584</c:v>
                </c:pt>
                <c:pt idx="1467">
                  <c:v>1.059488769838699</c:v>
                </c:pt>
                <c:pt idx="1468">
                  <c:v>1.059488769838699</c:v>
                </c:pt>
                <c:pt idx="1469">
                  <c:v>1.059488769838699</c:v>
                </c:pt>
                <c:pt idx="1470">
                  <c:v>1.0658153021450785</c:v>
                </c:pt>
                <c:pt idx="1471">
                  <c:v>1.0534809516626789</c:v>
                </c:pt>
                <c:pt idx="1472">
                  <c:v>1.0314807411573503</c:v>
                </c:pt>
                <c:pt idx="1473">
                  <c:v>1.0430916552418323</c:v>
                </c:pt>
                <c:pt idx="1474">
                  <c:v>1.0599300376777654</c:v>
                </c:pt>
                <c:pt idx="1475">
                  <c:v>1.0599300376777654</c:v>
                </c:pt>
                <c:pt idx="1476">
                  <c:v>1.0599300376777654</c:v>
                </c:pt>
                <c:pt idx="1477">
                  <c:v>1.07816554864944</c:v>
                </c:pt>
                <c:pt idx="1478">
                  <c:v>1.078445621998636</c:v>
                </c:pt>
                <c:pt idx="1479">
                  <c:v>1.053484041296048</c:v>
                </c:pt>
                <c:pt idx="1480">
                  <c:v>1.051475943606961</c:v>
                </c:pt>
                <c:pt idx="1481">
                  <c:v>1.0674938468941693</c:v>
                </c:pt>
                <c:pt idx="1482">
                  <c:v>1.0674938468941693</c:v>
                </c:pt>
                <c:pt idx="1483">
                  <c:v>1.0674938468941693</c:v>
                </c:pt>
                <c:pt idx="1484">
                  <c:v>1.0620668688585764</c:v>
                </c:pt>
                <c:pt idx="1485">
                  <c:v>1.0853533736013774</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Commentary generation disabled: OPENAI_API_KEY not set.</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